
<file path=[Content_Types].xml><?xml version="1.0" encoding="utf-8"?>
<Types xmlns="http://schemas.openxmlformats.org/package/2006/content-types">
  <Default Extension="bin" ContentType="application/vnd.openxmlformats-officedocument.oleObject"/>
  <Default Extension="emf" ContentType="image/x-emf"/>
  <Default Extension="glb" ContentType="model/gltf.binary"/>
  <Default Extension="jpeg" ContentType="image/jpeg"/>
  <Default Extension="mp3" ContentType="audio/m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3.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14.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1.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2.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3.xml" ContentType="application/vnd.openxmlformats-officedocument.presentationml.notesSlide+xml"/>
  <Override PartName="/ppt/tags/tag75.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4"/>
  </p:sldMasterIdLst>
  <p:notesMasterIdLst>
    <p:notesMasterId r:id="rId37"/>
  </p:notesMasterIdLst>
  <p:sldIdLst>
    <p:sldId id="2141411434" r:id="rId5"/>
    <p:sldId id="2141411525" r:id="rId6"/>
    <p:sldId id="2141411526" r:id="rId7"/>
    <p:sldId id="2141411445" r:id="rId8"/>
    <p:sldId id="952" r:id="rId9"/>
    <p:sldId id="1008" r:id="rId10"/>
    <p:sldId id="264" r:id="rId11"/>
    <p:sldId id="2141411535" r:id="rId12"/>
    <p:sldId id="263" r:id="rId13"/>
    <p:sldId id="258" r:id="rId14"/>
    <p:sldId id="279" r:id="rId15"/>
    <p:sldId id="2147472694" r:id="rId16"/>
    <p:sldId id="2141411532" r:id="rId17"/>
    <p:sldId id="2141411533" r:id="rId18"/>
    <p:sldId id="259" r:id="rId19"/>
    <p:sldId id="2147472230" r:id="rId20"/>
    <p:sldId id="2147472693" r:id="rId21"/>
    <p:sldId id="2147472347" r:id="rId22"/>
    <p:sldId id="2141411534" r:id="rId23"/>
    <p:sldId id="257" r:id="rId24"/>
    <p:sldId id="272" r:id="rId25"/>
    <p:sldId id="277" r:id="rId26"/>
    <p:sldId id="273" r:id="rId27"/>
    <p:sldId id="278" r:id="rId28"/>
    <p:sldId id="274" r:id="rId29"/>
    <p:sldId id="276" r:id="rId30"/>
    <p:sldId id="2141411335" r:id="rId31"/>
    <p:sldId id="4101" r:id="rId32"/>
    <p:sldId id="951" r:id="rId33"/>
    <p:sldId id="2141411451" r:id="rId34"/>
    <p:sldId id="2141411527" r:id="rId35"/>
    <p:sldId id="2141411528" r:id="rId36"/>
  </p:sldIdLst>
  <p:sldSz cx="9144000" cy="5143500" type="screen16x9"/>
  <p:notesSz cx="6858000" cy="9144000"/>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8C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7DB03B4-A03F-4641-9806-3CB54419B3EF}" v="13" dt="2024-09-18T18:37:30.274"/>
    <p1510:client id="{F99DF24F-E6AA-83B0-8242-B4EEC82ABC5E}" v="1" dt="2024-09-18T11:42:20.69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38" d="100"/>
          <a:sy n="138" d="100"/>
        </p:scale>
        <p:origin x="834" y="120"/>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diagrams/_rels/data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svg"/><Relationship Id="rId1" Type="http://schemas.openxmlformats.org/officeDocument/2006/relationships/image" Target="../media/image42.png"/><Relationship Id="rId4" Type="http://schemas.openxmlformats.org/officeDocument/2006/relationships/image" Target="../media/image45.svg"/></Relationships>
</file>

<file path=ppt/diagrams/_rels/data6.xml.rels><?xml version="1.0" encoding="UTF-8" standalone="yes"?>
<Relationships xmlns="http://schemas.openxmlformats.org/package/2006/relationships"><Relationship Id="rId8" Type="http://schemas.openxmlformats.org/officeDocument/2006/relationships/image" Target="../media/image53.svg"/><Relationship Id="rId13" Type="http://schemas.openxmlformats.org/officeDocument/2006/relationships/image" Target="../media/image58.png"/><Relationship Id="rId3" Type="http://schemas.openxmlformats.org/officeDocument/2006/relationships/image" Target="../media/image48.png"/><Relationship Id="rId7" Type="http://schemas.openxmlformats.org/officeDocument/2006/relationships/image" Target="../media/image52.png"/><Relationship Id="rId12" Type="http://schemas.openxmlformats.org/officeDocument/2006/relationships/image" Target="../media/image57.svg"/><Relationship Id="rId2" Type="http://schemas.openxmlformats.org/officeDocument/2006/relationships/image" Target="../media/image47.svg"/><Relationship Id="rId1" Type="http://schemas.openxmlformats.org/officeDocument/2006/relationships/image" Target="../media/image46.png"/><Relationship Id="rId6" Type="http://schemas.openxmlformats.org/officeDocument/2006/relationships/image" Target="../media/image51.svg"/><Relationship Id="rId11" Type="http://schemas.openxmlformats.org/officeDocument/2006/relationships/image" Target="../media/image56.png"/><Relationship Id="rId5" Type="http://schemas.openxmlformats.org/officeDocument/2006/relationships/image" Target="../media/image50.png"/><Relationship Id="rId10" Type="http://schemas.openxmlformats.org/officeDocument/2006/relationships/image" Target="../media/image55.svg"/><Relationship Id="rId4" Type="http://schemas.openxmlformats.org/officeDocument/2006/relationships/image" Target="../media/image49.svg"/><Relationship Id="rId9" Type="http://schemas.openxmlformats.org/officeDocument/2006/relationships/image" Target="../media/image54.png"/><Relationship Id="rId14" Type="http://schemas.openxmlformats.org/officeDocument/2006/relationships/image" Target="../media/image59.svg"/></Relationships>
</file>

<file path=ppt/diagrams/_rels/data7.xml.rels><?xml version="1.0" encoding="UTF-8" standalone="yes"?>
<Relationships xmlns="http://schemas.openxmlformats.org/package/2006/relationships"><Relationship Id="rId8" Type="http://schemas.openxmlformats.org/officeDocument/2006/relationships/image" Target="../media/image67.svg"/><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image" Target="../media/image61.svg"/><Relationship Id="rId1" Type="http://schemas.openxmlformats.org/officeDocument/2006/relationships/image" Target="../media/image60.png"/><Relationship Id="rId6" Type="http://schemas.openxmlformats.org/officeDocument/2006/relationships/image" Target="../media/image65.svg"/><Relationship Id="rId5" Type="http://schemas.openxmlformats.org/officeDocument/2006/relationships/image" Target="../media/image64.png"/><Relationship Id="rId10" Type="http://schemas.openxmlformats.org/officeDocument/2006/relationships/image" Target="../media/image69.svg"/><Relationship Id="rId4" Type="http://schemas.openxmlformats.org/officeDocument/2006/relationships/image" Target="../media/image63.svg"/><Relationship Id="rId9" Type="http://schemas.openxmlformats.org/officeDocument/2006/relationships/image" Target="../media/image68.png"/></Relationships>
</file>

<file path=ppt/diagrams/_rels/drawing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svg"/><Relationship Id="rId1" Type="http://schemas.openxmlformats.org/officeDocument/2006/relationships/image" Target="../media/image42.png"/><Relationship Id="rId4" Type="http://schemas.openxmlformats.org/officeDocument/2006/relationships/image" Target="../media/image45.svg"/></Relationships>
</file>

<file path=ppt/diagrams/_rels/drawing6.xml.rels><?xml version="1.0" encoding="UTF-8" standalone="yes"?>
<Relationships xmlns="http://schemas.openxmlformats.org/package/2006/relationships"><Relationship Id="rId8" Type="http://schemas.openxmlformats.org/officeDocument/2006/relationships/image" Target="../media/image53.svg"/><Relationship Id="rId13" Type="http://schemas.openxmlformats.org/officeDocument/2006/relationships/image" Target="../media/image58.png"/><Relationship Id="rId3" Type="http://schemas.openxmlformats.org/officeDocument/2006/relationships/image" Target="../media/image48.png"/><Relationship Id="rId7" Type="http://schemas.openxmlformats.org/officeDocument/2006/relationships/image" Target="../media/image52.png"/><Relationship Id="rId12" Type="http://schemas.openxmlformats.org/officeDocument/2006/relationships/image" Target="../media/image57.svg"/><Relationship Id="rId2" Type="http://schemas.openxmlformats.org/officeDocument/2006/relationships/image" Target="../media/image47.svg"/><Relationship Id="rId1" Type="http://schemas.openxmlformats.org/officeDocument/2006/relationships/image" Target="../media/image46.png"/><Relationship Id="rId6" Type="http://schemas.openxmlformats.org/officeDocument/2006/relationships/image" Target="../media/image51.svg"/><Relationship Id="rId11" Type="http://schemas.openxmlformats.org/officeDocument/2006/relationships/image" Target="../media/image56.png"/><Relationship Id="rId5" Type="http://schemas.openxmlformats.org/officeDocument/2006/relationships/image" Target="../media/image50.png"/><Relationship Id="rId10" Type="http://schemas.openxmlformats.org/officeDocument/2006/relationships/image" Target="../media/image55.svg"/><Relationship Id="rId4" Type="http://schemas.openxmlformats.org/officeDocument/2006/relationships/image" Target="../media/image49.svg"/><Relationship Id="rId9" Type="http://schemas.openxmlformats.org/officeDocument/2006/relationships/image" Target="../media/image54.png"/><Relationship Id="rId14" Type="http://schemas.openxmlformats.org/officeDocument/2006/relationships/image" Target="../media/image59.svg"/></Relationships>
</file>

<file path=ppt/diagrams/_rels/drawing7.xml.rels><?xml version="1.0" encoding="UTF-8" standalone="yes"?>
<Relationships xmlns="http://schemas.openxmlformats.org/package/2006/relationships"><Relationship Id="rId8" Type="http://schemas.openxmlformats.org/officeDocument/2006/relationships/image" Target="../media/image67.svg"/><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image" Target="../media/image61.svg"/><Relationship Id="rId1" Type="http://schemas.openxmlformats.org/officeDocument/2006/relationships/image" Target="../media/image60.png"/><Relationship Id="rId6" Type="http://schemas.openxmlformats.org/officeDocument/2006/relationships/image" Target="../media/image65.svg"/><Relationship Id="rId5" Type="http://schemas.openxmlformats.org/officeDocument/2006/relationships/image" Target="../media/image64.png"/><Relationship Id="rId10" Type="http://schemas.openxmlformats.org/officeDocument/2006/relationships/image" Target="../media/image69.svg"/><Relationship Id="rId4" Type="http://schemas.openxmlformats.org/officeDocument/2006/relationships/image" Target="../media/image63.svg"/><Relationship Id="rId9" Type="http://schemas.openxmlformats.org/officeDocument/2006/relationships/image" Target="../media/image68.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18/5/colors/Iconchunking_neutralbg_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a:alpha val="0"/>
      </a:schemeClr>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18/5/colors/Iconchunking_neutralicon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2C1ACA9-95BB-451B-BCB5-579645B8822E}" type="doc">
      <dgm:prSet loTypeId="urn:microsoft.com/office/officeart/2016/7/layout/VerticalHollowActionList" loCatId="List" qsTypeId="urn:microsoft.com/office/officeart/2005/8/quickstyle/simple1" qsCatId="simple" csTypeId="urn:microsoft.com/office/officeart/2005/8/colors/accent1_2" csCatId="accent1"/>
      <dgm:spPr/>
      <dgm:t>
        <a:bodyPr/>
        <a:lstStyle/>
        <a:p>
          <a:endParaRPr lang="en-US"/>
        </a:p>
      </dgm:t>
    </dgm:pt>
    <dgm:pt modelId="{6DF96A62-10BB-4448-B064-E7C197CE4657}">
      <dgm:prSet custT="1"/>
      <dgm:spPr/>
      <dgm:t>
        <a:bodyPr/>
        <a:lstStyle/>
        <a:p>
          <a:r>
            <a:rPr lang="en-US" sz="1100"/>
            <a:t>Shrinking</a:t>
          </a:r>
        </a:p>
      </dgm:t>
    </dgm:pt>
    <dgm:pt modelId="{7D1EC4CB-AAF3-4CAD-8338-05E629DD955D}" type="parTrans" cxnId="{F7F731BF-DADB-42CE-9A45-A181DC0EEE3F}">
      <dgm:prSet/>
      <dgm:spPr/>
      <dgm:t>
        <a:bodyPr/>
        <a:lstStyle/>
        <a:p>
          <a:endParaRPr lang="en-US"/>
        </a:p>
      </dgm:t>
    </dgm:pt>
    <dgm:pt modelId="{CDFCC949-A735-4B88-84B9-4CD8CCDC0103}" type="sibTrans" cxnId="{F7F731BF-DADB-42CE-9A45-A181DC0EEE3F}">
      <dgm:prSet/>
      <dgm:spPr/>
      <dgm:t>
        <a:bodyPr/>
        <a:lstStyle/>
        <a:p>
          <a:endParaRPr lang="en-US"/>
        </a:p>
      </dgm:t>
    </dgm:pt>
    <dgm:pt modelId="{792E619C-1825-4E7E-8066-B6F2A05D6AD0}">
      <dgm:prSet/>
      <dgm:spPr/>
      <dgm:t>
        <a:bodyPr/>
        <a:lstStyle/>
        <a:p>
          <a:r>
            <a:rPr lang="en-US"/>
            <a:t>Shrinking teams: Realigning for efficiency</a:t>
          </a:r>
        </a:p>
      </dgm:t>
    </dgm:pt>
    <dgm:pt modelId="{AE189411-629A-48B9-9F29-2FE5D5DCCC22}" type="parTrans" cxnId="{6BBA5D5A-39ED-4AA1-9D86-F115B729F3F2}">
      <dgm:prSet/>
      <dgm:spPr/>
      <dgm:t>
        <a:bodyPr/>
        <a:lstStyle/>
        <a:p>
          <a:endParaRPr lang="en-US"/>
        </a:p>
      </dgm:t>
    </dgm:pt>
    <dgm:pt modelId="{38998B95-DB9A-44FF-953A-DDC865C9BB50}" type="sibTrans" cxnId="{6BBA5D5A-39ED-4AA1-9D86-F115B729F3F2}">
      <dgm:prSet/>
      <dgm:spPr/>
      <dgm:t>
        <a:bodyPr/>
        <a:lstStyle/>
        <a:p>
          <a:endParaRPr lang="en-US"/>
        </a:p>
      </dgm:t>
    </dgm:pt>
    <dgm:pt modelId="{F65B814A-774A-430E-B3ED-E58230FF8A0A}">
      <dgm:prSet custT="1"/>
      <dgm:spPr/>
      <dgm:t>
        <a:bodyPr/>
        <a:lstStyle/>
        <a:p>
          <a:r>
            <a:rPr lang="en-US" sz="1050"/>
            <a:t>Changing</a:t>
          </a:r>
        </a:p>
      </dgm:t>
    </dgm:pt>
    <dgm:pt modelId="{8EA0C78F-233C-47BD-A0AF-3591697CB2EF}" type="parTrans" cxnId="{22A75A85-0BF2-4680-A391-A343D9164B69}">
      <dgm:prSet/>
      <dgm:spPr/>
      <dgm:t>
        <a:bodyPr/>
        <a:lstStyle/>
        <a:p>
          <a:endParaRPr lang="en-US"/>
        </a:p>
      </dgm:t>
    </dgm:pt>
    <dgm:pt modelId="{BF71F53D-2AB8-4EE8-845B-7CF4BB16193C}" type="sibTrans" cxnId="{22A75A85-0BF2-4680-A391-A343D9164B69}">
      <dgm:prSet/>
      <dgm:spPr/>
      <dgm:t>
        <a:bodyPr/>
        <a:lstStyle/>
        <a:p>
          <a:endParaRPr lang="en-US"/>
        </a:p>
      </dgm:t>
    </dgm:pt>
    <dgm:pt modelId="{C124BF99-CEEF-46FC-AE79-41BA36F826B0}">
      <dgm:prSet/>
      <dgm:spPr/>
      <dgm:t>
        <a:bodyPr/>
        <a:lstStyle/>
        <a:p>
          <a:r>
            <a:rPr lang="en-US"/>
            <a:t>Changing roles: Making a lateral move</a:t>
          </a:r>
        </a:p>
      </dgm:t>
    </dgm:pt>
    <dgm:pt modelId="{21892B2E-BF2D-492A-B5CF-1EA4886F00DF}" type="parTrans" cxnId="{72AAC99E-4509-4F15-94B2-56D4645D9CD1}">
      <dgm:prSet/>
      <dgm:spPr/>
      <dgm:t>
        <a:bodyPr/>
        <a:lstStyle/>
        <a:p>
          <a:endParaRPr lang="en-US"/>
        </a:p>
      </dgm:t>
    </dgm:pt>
    <dgm:pt modelId="{1E54A1F1-A5BD-47BE-A836-3A739489A0CE}" type="sibTrans" cxnId="{72AAC99E-4509-4F15-94B2-56D4645D9CD1}">
      <dgm:prSet/>
      <dgm:spPr/>
      <dgm:t>
        <a:bodyPr/>
        <a:lstStyle/>
        <a:p>
          <a:endParaRPr lang="en-US"/>
        </a:p>
      </dgm:t>
    </dgm:pt>
    <dgm:pt modelId="{22A39347-930B-43A9-85E6-9618343FE7FB}">
      <dgm:prSet custT="1"/>
      <dgm:spPr/>
      <dgm:t>
        <a:bodyPr/>
        <a:lstStyle/>
        <a:p>
          <a:r>
            <a:rPr lang="en-US" sz="1000"/>
            <a:t>Growing</a:t>
          </a:r>
        </a:p>
      </dgm:t>
    </dgm:pt>
    <dgm:pt modelId="{5F9E3D13-F60C-4811-93A0-32FAE136E20A}" type="parTrans" cxnId="{4A872ABD-CA12-4141-A788-F7F3C9AEFB03}">
      <dgm:prSet/>
      <dgm:spPr/>
      <dgm:t>
        <a:bodyPr/>
        <a:lstStyle/>
        <a:p>
          <a:endParaRPr lang="en-US"/>
        </a:p>
      </dgm:t>
    </dgm:pt>
    <dgm:pt modelId="{CAB347D1-B196-4736-A617-6BCF57F91C6A}" type="sibTrans" cxnId="{4A872ABD-CA12-4141-A788-F7F3C9AEFB03}">
      <dgm:prSet/>
      <dgm:spPr/>
      <dgm:t>
        <a:bodyPr/>
        <a:lstStyle/>
        <a:p>
          <a:endParaRPr lang="en-US"/>
        </a:p>
      </dgm:t>
    </dgm:pt>
    <dgm:pt modelId="{5AA1B42F-D423-4E90-9B36-A344F43F3F3D}">
      <dgm:prSet/>
      <dgm:spPr/>
      <dgm:t>
        <a:bodyPr/>
        <a:lstStyle/>
        <a:p>
          <a:r>
            <a:rPr lang="en-US"/>
            <a:t>Growing teams: Finding the right talent </a:t>
          </a:r>
        </a:p>
      </dgm:t>
    </dgm:pt>
    <dgm:pt modelId="{5A2893F6-FA4A-4D1C-88C3-83DAB70BCBA4}" type="parTrans" cxnId="{CB976558-9FFC-42A9-A864-1022724B2AAF}">
      <dgm:prSet/>
      <dgm:spPr/>
      <dgm:t>
        <a:bodyPr/>
        <a:lstStyle/>
        <a:p>
          <a:endParaRPr lang="en-US"/>
        </a:p>
      </dgm:t>
    </dgm:pt>
    <dgm:pt modelId="{4ADC2530-F99F-4836-9FD3-57DB9F455235}" type="sibTrans" cxnId="{CB976558-9FFC-42A9-A864-1022724B2AAF}">
      <dgm:prSet/>
      <dgm:spPr/>
      <dgm:t>
        <a:bodyPr/>
        <a:lstStyle/>
        <a:p>
          <a:endParaRPr lang="en-US"/>
        </a:p>
      </dgm:t>
    </dgm:pt>
    <dgm:pt modelId="{0D1A9DB9-6DE8-42D4-A2D0-068C6A200666}">
      <dgm:prSet custT="1"/>
      <dgm:spPr/>
      <dgm:t>
        <a:bodyPr/>
        <a:lstStyle/>
        <a:p>
          <a:r>
            <a:rPr lang="en-US" sz="1000"/>
            <a:t>Retaining</a:t>
          </a:r>
        </a:p>
      </dgm:t>
    </dgm:pt>
    <dgm:pt modelId="{06AD8BE3-85E6-4066-AEC6-030B617A8C1E}" type="parTrans" cxnId="{CFDFF968-34C1-4BAB-9CA3-1A65CD9AEF8A}">
      <dgm:prSet/>
      <dgm:spPr/>
      <dgm:t>
        <a:bodyPr/>
        <a:lstStyle/>
        <a:p>
          <a:endParaRPr lang="en-US"/>
        </a:p>
      </dgm:t>
    </dgm:pt>
    <dgm:pt modelId="{58C9C9F2-80F8-4E5B-8085-CB98CD381829}" type="sibTrans" cxnId="{CFDFF968-34C1-4BAB-9CA3-1A65CD9AEF8A}">
      <dgm:prSet/>
      <dgm:spPr/>
      <dgm:t>
        <a:bodyPr/>
        <a:lstStyle/>
        <a:p>
          <a:endParaRPr lang="en-US"/>
        </a:p>
      </dgm:t>
    </dgm:pt>
    <dgm:pt modelId="{4611CE36-BDDA-4723-8403-30CD7527F8C7}">
      <dgm:prSet/>
      <dgm:spPr/>
      <dgm:t>
        <a:bodyPr/>
        <a:lstStyle/>
        <a:p>
          <a:r>
            <a:rPr lang="en-US"/>
            <a:t>Retaining teams: Refer to previous page. Challenge and engage!</a:t>
          </a:r>
        </a:p>
      </dgm:t>
    </dgm:pt>
    <dgm:pt modelId="{2C45376B-919E-470D-95BD-E17E1FC1E30E}" type="parTrans" cxnId="{104560D4-CFB9-4CAC-96EC-5D374B1A8178}">
      <dgm:prSet/>
      <dgm:spPr/>
      <dgm:t>
        <a:bodyPr/>
        <a:lstStyle/>
        <a:p>
          <a:endParaRPr lang="en-US"/>
        </a:p>
      </dgm:t>
    </dgm:pt>
    <dgm:pt modelId="{BFDC54E5-1A14-41FF-9D7C-8392314A826D}" type="sibTrans" cxnId="{104560D4-CFB9-4CAC-96EC-5D374B1A8178}">
      <dgm:prSet/>
      <dgm:spPr/>
      <dgm:t>
        <a:bodyPr/>
        <a:lstStyle/>
        <a:p>
          <a:endParaRPr lang="en-US"/>
        </a:p>
      </dgm:t>
    </dgm:pt>
    <dgm:pt modelId="{9B0FDC28-6FA0-4855-B63E-AABD77549E01}" type="pres">
      <dgm:prSet presAssocID="{72C1ACA9-95BB-451B-BCB5-579645B8822E}" presName="Name0" presStyleCnt="0">
        <dgm:presLayoutVars>
          <dgm:dir/>
          <dgm:animLvl val="lvl"/>
          <dgm:resizeHandles val="exact"/>
        </dgm:presLayoutVars>
      </dgm:prSet>
      <dgm:spPr/>
    </dgm:pt>
    <dgm:pt modelId="{BF3EB5FA-B03C-478A-B5DA-4B393A7E578D}" type="pres">
      <dgm:prSet presAssocID="{6DF96A62-10BB-4448-B064-E7C197CE4657}" presName="linNode" presStyleCnt="0"/>
      <dgm:spPr/>
    </dgm:pt>
    <dgm:pt modelId="{C86D45DE-0411-47E0-A2B3-55DD1096B19C}" type="pres">
      <dgm:prSet presAssocID="{6DF96A62-10BB-4448-B064-E7C197CE4657}" presName="parentText" presStyleLbl="solidFgAcc1" presStyleIdx="0" presStyleCnt="4">
        <dgm:presLayoutVars>
          <dgm:chMax val="1"/>
          <dgm:bulletEnabled/>
        </dgm:presLayoutVars>
      </dgm:prSet>
      <dgm:spPr/>
    </dgm:pt>
    <dgm:pt modelId="{5A888EAC-015E-4A74-AFFC-BEEDCB7EAEE9}" type="pres">
      <dgm:prSet presAssocID="{6DF96A62-10BB-4448-B064-E7C197CE4657}" presName="descendantText" presStyleLbl="alignNode1" presStyleIdx="0" presStyleCnt="4">
        <dgm:presLayoutVars>
          <dgm:bulletEnabled/>
        </dgm:presLayoutVars>
      </dgm:prSet>
      <dgm:spPr/>
    </dgm:pt>
    <dgm:pt modelId="{8900C90B-3166-4D6F-9433-BBB7848FD7CE}" type="pres">
      <dgm:prSet presAssocID="{CDFCC949-A735-4B88-84B9-4CD8CCDC0103}" presName="sp" presStyleCnt="0"/>
      <dgm:spPr/>
    </dgm:pt>
    <dgm:pt modelId="{E30BB60F-1C7A-49E6-B033-7BBF3EA1DC22}" type="pres">
      <dgm:prSet presAssocID="{F65B814A-774A-430E-B3ED-E58230FF8A0A}" presName="linNode" presStyleCnt="0"/>
      <dgm:spPr/>
    </dgm:pt>
    <dgm:pt modelId="{1F8FB829-5274-41AA-AD8A-D1219AA10C99}" type="pres">
      <dgm:prSet presAssocID="{F65B814A-774A-430E-B3ED-E58230FF8A0A}" presName="parentText" presStyleLbl="solidFgAcc1" presStyleIdx="1" presStyleCnt="4">
        <dgm:presLayoutVars>
          <dgm:chMax val="1"/>
          <dgm:bulletEnabled/>
        </dgm:presLayoutVars>
      </dgm:prSet>
      <dgm:spPr/>
    </dgm:pt>
    <dgm:pt modelId="{B2D2F224-839C-43F6-AD2F-9A7DA9C3F50A}" type="pres">
      <dgm:prSet presAssocID="{F65B814A-774A-430E-B3ED-E58230FF8A0A}" presName="descendantText" presStyleLbl="alignNode1" presStyleIdx="1" presStyleCnt="4">
        <dgm:presLayoutVars>
          <dgm:bulletEnabled/>
        </dgm:presLayoutVars>
      </dgm:prSet>
      <dgm:spPr/>
    </dgm:pt>
    <dgm:pt modelId="{45A5E8E3-3481-43FC-A61D-867D3653941E}" type="pres">
      <dgm:prSet presAssocID="{BF71F53D-2AB8-4EE8-845B-7CF4BB16193C}" presName="sp" presStyleCnt="0"/>
      <dgm:spPr/>
    </dgm:pt>
    <dgm:pt modelId="{D813C275-F11F-4A5F-B251-C5CAE0CDC550}" type="pres">
      <dgm:prSet presAssocID="{22A39347-930B-43A9-85E6-9618343FE7FB}" presName="linNode" presStyleCnt="0"/>
      <dgm:spPr/>
    </dgm:pt>
    <dgm:pt modelId="{E847D9AD-D73C-40EA-85C0-0661FD548908}" type="pres">
      <dgm:prSet presAssocID="{22A39347-930B-43A9-85E6-9618343FE7FB}" presName="parentText" presStyleLbl="solidFgAcc1" presStyleIdx="2" presStyleCnt="4">
        <dgm:presLayoutVars>
          <dgm:chMax val="1"/>
          <dgm:bulletEnabled/>
        </dgm:presLayoutVars>
      </dgm:prSet>
      <dgm:spPr/>
    </dgm:pt>
    <dgm:pt modelId="{DF06A400-EE12-425D-AD49-2B39819A3891}" type="pres">
      <dgm:prSet presAssocID="{22A39347-930B-43A9-85E6-9618343FE7FB}" presName="descendantText" presStyleLbl="alignNode1" presStyleIdx="2" presStyleCnt="4">
        <dgm:presLayoutVars>
          <dgm:bulletEnabled/>
        </dgm:presLayoutVars>
      </dgm:prSet>
      <dgm:spPr/>
    </dgm:pt>
    <dgm:pt modelId="{B2F51B86-6A57-4A94-B218-0FF3A82797D5}" type="pres">
      <dgm:prSet presAssocID="{CAB347D1-B196-4736-A617-6BCF57F91C6A}" presName="sp" presStyleCnt="0"/>
      <dgm:spPr/>
    </dgm:pt>
    <dgm:pt modelId="{A12FBD8B-DF98-4718-A170-200E2E8BF99F}" type="pres">
      <dgm:prSet presAssocID="{0D1A9DB9-6DE8-42D4-A2D0-068C6A200666}" presName="linNode" presStyleCnt="0"/>
      <dgm:spPr/>
    </dgm:pt>
    <dgm:pt modelId="{17827390-BB93-48FF-8476-A2F6B5F2D002}" type="pres">
      <dgm:prSet presAssocID="{0D1A9DB9-6DE8-42D4-A2D0-068C6A200666}" presName="parentText" presStyleLbl="solidFgAcc1" presStyleIdx="3" presStyleCnt="4">
        <dgm:presLayoutVars>
          <dgm:chMax val="1"/>
          <dgm:bulletEnabled/>
        </dgm:presLayoutVars>
      </dgm:prSet>
      <dgm:spPr/>
    </dgm:pt>
    <dgm:pt modelId="{00E8B977-F1F8-4F4F-8054-E978FD4665BF}" type="pres">
      <dgm:prSet presAssocID="{0D1A9DB9-6DE8-42D4-A2D0-068C6A200666}" presName="descendantText" presStyleLbl="alignNode1" presStyleIdx="3" presStyleCnt="4">
        <dgm:presLayoutVars>
          <dgm:bulletEnabled/>
        </dgm:presLayoutVars>
      </dgm:prSet>
      <dgm:spPr/>
    </dgm:pt>
  </dgm:ptLst>
  <dgm:cxnLst>
    <dgm:cxn modelId="{6414BA1D-9254-4847-A049-28AE9BF2BA57}" type="presOf" srcId="{5AA1B42F-D423-4E90-9B36-A344F43F3F3D}" destId="{DF06A400-EE12-425D-AD49-2B39819A3891}" srcOrd="0" destOrd="0" presId="urn:microsoft.com/office/officeart/2016/7/layout/VerticalHollowActionList"/>
    <dgm:cxn modelId="{25EF5636-7A71-48D7-9429-22E174BB8369}" type="presOf" srcId="{6DF96A62-10BB-4448-B064-E7C197CE4657}" destId="{C86D45DE-0411-47E0-A2B3-55DD1096B19C}" srcOrd="0" destOrd="0" presId="urn:microsoft.com/office/officeart/2016/7/layout/VerticalHollowActionList"/>
    <dgm:cxn modelId="{CFDFF968-34C1-4BAB-9CA3-1A65CD9AEF8A}" srcId="{72C1ACA9-95BB-451B-BCB5-579645B8822E}" destId="{0D1A9DB9-6DE8-42D4-A2D0-068C6A200666}" srcOrd="3" destOrd="0" parTransId="{06AD8BE3-85E6-4066-AEC6-030B617A8C1E}" sibTransId="{58C9C9F2-80F8-4E5B-8085-CB98CD381829}"/>
    <dgm:cxn modelId="{3DB08F6A-FE46-4AFB-A925-197EE5DAC5E7}" type="presOf" srcId="{0D1A9DB9-6DE8-42D4-A2D0-068C6A200666}" destId="{17827390-BB93-48FF-8476-A2F6B5F2D002}" srcOrd="0" destOrd="0" presId="urn:microsoft.com/office/officeart/2016/7/layout/VerticalHollowActionList"/>
    <dgm:cxn modelId="{ABB5AF55-679C-4799-B3EA-92B670ADD91E}" type="presOf" srcId="{72C1ACA9-95BB-451B-BCB5-579645B8822E}" destId="{9B0FDC28-6FA0-4855-B63E-AABD77549E01}" srcOrd="0" destOrd="0" presId="urn:microsoft.com/office/officeart/2016/7/layout/VerticalHollowActionList"/>
    <dgm:cxn modelId="{CB976558-9FFC-42A9-A864-1022724B2AAF}" srcId="{22A39347-930B-43A9-85E6-9618343FE7FB}" destId="{5AA1B42F-D423-4E90-9B36-A344F43F3F3D}" srcOrd="0" destOrd="0" parTransId="{5A2893F6-FA4A-4D1C-88C3-83DAB70BCBA4}" sibTransId="{4ADC2530-F99F-4836-9FD3-57DB9F455235}"/>
    <dgm:cxn modelId="{6BBA5D5A-39ED-4AA1-9D86-F115B729F3F2}" srcId="{6DF96A62-10BB-4448-B064-E7C197CE4657}" destId="{792E619C-1825-4E7E-8066-B6F2A05D6AD0}" srcOrd="0" destOrd="0" parTransId="{AE189411-629A-48B9-9F29-2FE5D5DCCC22}" sibTransId="{38998B95-DB9A-44FF-953A-DDC865C9BB50}"/>
    <dgm:cxn modelId="{22A75A85-0BF2-4680-A391-A343D9164B69}" srcId="{72C1ACA9-95BB-451B-BCB5-579645B8822E}" destId="{F65B814A-774A-430E-B3ED-E58230FF8A0A}" srcOrd="1" destOrd="0" parTransId="{8EA0C78F-233C-47BD-A0AF-3591697CB2EF}" sibTransId="{BF71F53D-2AB8-4EE8-845B-7CF4BB16193C}"/>
    <dgm:cxn modelId="{13A9528E-5504-4A36-A5D3-44AB3C895A48}" type="presOf" srcId="{4611CE36-BDDA-4723-8403-30CD7527F8C7}" destId="{00E8B977-F1F8-4F4F-8054-E978FD4665BF}" srcOrd="0" destOrd="0" presId="urn:microsoft.com/office/officeart/2016/7/layout/VerticalHollowActionList"/>
    <dgm:cxn modelId="{65408A8F-1255-4856-96E0-2AEDF3B4ECA6}" type="presOf" srcId="{F65B814A-774A-430E-B3ED-E58230FF8A0A}" destId="{1F8FB829-5274-41AA-AD8A-D1219AA10C99}" srcOrd="0" destOrd="0" presId="urn:microsoft.com/office/officeart/2016/7/layout/VerticalHollowActionList"/>
    <dgm:cxn modelId="{A2F16096-2FE7-437D-9C00-DB7C5CF3E799}" type="presOf" srcId="{22A39347-930B-43A9-85E6-9618343FE7FB}" destId="{E847D9AD-D73C-40EA-85C0-0661FD548908}" srcOrd="0" destOrd="0" presId="urn:microsoft.com/office/officeart/2016/7/layout/VerticalHollowActionList"/>
    <dgm:cxn modelId="{72AAC99E-4509-4F15-94B2-56D4645D9CD1}" srcId="{F65B814A-774A-430E-B3ED-E58230FF8A0A}" destId="{C124BF99-CEEF-46FC-AE79-41BA36F826B0}" srcOrd="0" destOrd="0" parTransId="{21892B2E-BF2D-492A-B5CF-1EA4886F00DF}" sibTransId="{1E54A1F1-A5BD-47BE-A836-3A739489A0CE}"/>
    <dgm:cxn modelId="{8EA564B4-6B27-419F-81C6-137F0CACA211}" type="presOf" srcId="{792E619C-1825-4E7E-8066-B6F2A05D6AD0}" destId="{5A888EAC-015E-4A74-AFFC-BEEDCB7EAEE9}" srcOrd="0" destOrd="0" presId="urn:microsoft.com/office/officeart/2016/7/layout/VerticalHollowActionList"/>
    <dgm:cxn modelId="{4A872ABD-CA12-4141-A788-F7F3C9AEFB03}" srcId="{72C1ACA9-95BB-451B-BCB5-579645B8822E}" destId="{22A39347-930B-43A9-85E6-9618343FE7FB}" srcOrd="2" destOrd="0" parTransId="{5F9E3D13-F60C-4811-93A0-32FAE136E20A}" sibTransId="{CAB347D1-B196-4736-A617-6BCF57F91C6A}"/>
    <dgm:cxn modelId="{F7F731BF-DADB-42CE-9A45-A181DC0EEE3F}" srcId="{72C1ACA9-95BB-451B-BCB5-579645B8822E}" destId="{6DF96A62-10BB-4448-B064-E7C197CE4657}" srcOrd="0" destOrd="0" parTransId="{7D1EC4CB-AAF3-4CAD-8338-05E629DD955D}" sibTransId="{CDFCC949-A735-4B88-84B9-4CD8CCDC0103}"/>
    <dgm:cxn modelId="{104560D4-CFB9-4CAC-96EC-5D374B1A8178}" srcId="{0D1A9DB9-6DE8-42D4-A2D0-068C6A200666}" destId="{4611CE36-BDDA-4723-8403-30CD7527F8C7}" srcOrd="0" destOrd="0" parTransId="{2C45376B-919E-470D-95BD-E17E1FC1E30E}" sibTransId="{BFDC54E5-1A14-41FF-9D7C-8392314A826D}"/>
    <dgm:cxn modelId="{9226E6F2-21A5-4E1F-814D-0F9E0F76E8F3}" type="presOf" srcId="{C124BF99-CEEF-46FC-AE79-41BA36F826B0}" destId="{B2D2F224-839C-43F6-AD2F-9A7DA9C3F50A}" srcOrd="0" destOrd="0" presId="urn:microsoft.com/office/officeart/2016/7/layout/VerticalHollowActionList"/>
    <dgm:cxn modelId="{7911784C-E9CA-4D13-8557-A9790F6D74E4}" type="presParOf" srcId="{9B0FDC28-6FA0-4855-B63E-AABD77549E01}" destId="{BF3EB5FA-B03C-478A-B5DA-4B393A7E578D}" srcOrd="0" destOrd="0" presId="urn:microsoft.com/office/officeart/2016/7/layout/VerticalHollowActionList"/>
    <dgm:cxn modelId="{B165C508-EECD-4D07-B0AB-AF4756FBF8E8}" type="presParOf" srcId="{BF3EB5FA-B03C-478A-B5DA-4B393A7E578D}" destId="{C86D45DE-0411-47E0-A2B3-55DD1096B19C}" srcOrd="0" destOrd="0" presId="urn:microsoft.com/office/officeart/2016/7/layout/VerticalHollowActionList"/>
    <dgm:cxn modelId="{DF07E84E-D8FA-448D-BD55-20AD6317B994}" type="presParOf" srcId="{BF3EB5FA-B03C-478A-B5DA-4B393A7E578D}" destId="{5A888EAC-015E-4A74-AFFC-BEEDCB7EAEE9}" srcOrd="1" destOrd="0" presId="urn:microsoft.com/office/officeart/2016/7/layout/VerticalHollowActionList"/>
    <dgm:cxn modelId="{D62F78AC-7DCF-48EE-9BD0-19863AA65493}" type="presParOf" srcId="{9B0FDC28-6FA0-4855-B63E-AABD77549E01}" destId="{8900C90B-3166-4D6F-9433-BBB7848FD7CE}" srcOrd="1" destOrd="0" presId="urn:microsoft.com/office/officeart/2016/7/layout/VerticalHollowActionList"/>
    <dgm:cxn modelId="{4F92BAE7-D904-4989-89D8-B56871A70463}" type="presParOf" srcId="{9B0FDC28-6FA0-4855-B63E-AABD77549E01}" destId="{E30BB60F-1C7A-49E6-B033-7BBF3EA1DC22}" srcOrd="2" destOrd="0" presId="urn:microsoft.com/office/officeart/2016/7/layout/VerticalHollowActionList"/>
    <dgm:cxn modelId="{60FE20E5-491F-4789-8B93-19E69E571DEA}" type="presParOf" srcId="{E30BB60F-1C7A-49E6-B033-7BBF3EA1DC22}" destId="{1F8FB829-5274-41AA-AD8A-D1219AA10C99}" srcOrd="0" destOrd="0" presId="urn:microsoft.com/office/officeart/2016/7/layout/VerticalHollowActionList"/>
    <dgm:cxn modelId="{DA87367F-6CBA-43C0-BB80-682660575D29}" type="presParOf" srcId="{E30BB60F-1C7A-49E6-B033-7BBF3EA1DC22}" destId="{B2D2F224-839C-43F6-AD2F-9A7DA9C3F50A}" srcOrd="1" destOrd="0" presId="urn:microsoft.com/office/officeart/2016/7/layout/VerticalHollowActionList"/>
    <dgm:cxn modelId="{E6F0F1B3-8729-4E49-B6EA-69F434B1BC2A}" type="presParOf" srcId="{9B0FDC28-6FA0-4855-B63E-AABD77549E01}" destId="{45A5E8E3-3481-43FC-A61D-867D3653941E}" srcOrd="3" destOrd="0" presId="urn:microsoft.com/office/officeart/2016/7/layout/VerticalHollowActionList"/>
    <dgm:cxn modelId="{E0DC851B-DDD1-40E6-A70D-55556CE5E5E5}" type="presParOf" srcId="{9B0FDC28-6FA0-4855-B63E-AABD77549E01}" destId="{D813C275-F11F-4A5F-B251-C5CAE0CDC550}" srcOrd="4" destOrd="0" presId="urn:microsoft.com/office/officeart/2016/7/layout/VerticalHollowActionList"/>
    <dgm:cxn modelId="{E4FE6225-B57F-47E0-92AE-589BA84E4196}" type="presParOf" srcId="{D813C275-F11F-4A5F-B251-C5CAE0CDC550}" destId="{E847D9AD-D73C-40EA-85C0-0661FD548908}" srcOrd="0" destOrd="0" presId="urn:microsoft.com/office/officeart/2016/7/layout/VerticalHollowActionList"/>
    <dgm:cxn modelId="{9319F305-7681-4EFD-8151-71BC9B861110}" type="presParOf" srcId="{D813C275-F11F-4A5F-B251-C5CAE0CDC550}" destId="{DF06A400-EE12-425D-AD49-2B39819A3891}" srcOrd="1" destOrd="0" presId="urn:microsoft.com/office/officeart/2016/7/layout/VerticalHollowActionList"/>
    <dgm:cxn modelId="{A9E7AAEA-375C-49F2-8C7E-D20EA7C6DD0D}" type="presParOf" srcId="{9B0FDC28-6FA0-4855-B63E-AABD77549E01}" destId="{B2F51B86-6A57-4A94-B218-0FF3A82797D5}" srcOrd="5" destOrd="0" presId="urn:microsoft.com/office/officeart/2016/7/layout/VerticalHollowActionList"/>
    <dgm:cxn modelId="{37B14216-042E-48F1-A7F8-36A130A7D6F7}" type="presParOf" srcId="{9B0FDC28-6FA0-4855-B63E-AABD77549E01}" destId="{A12FBD8B-DF98-4718-A170-200E2E8BF99F}" srcOrd="6" destOrd="0" presId="urn:microsoft.com/office/officeart/2016/7/layout/VerticalHollowActionList"/>
    <dgm:cxn modelId="{2F5D9FBF-EA97-458B-919E-984E74A5734A}" type="presParOf" srcId="{A12FBD8B-DF98-4718-A170-200E2E8BF99F}" destId="{17827390-BB93-48FF-8476-A2F6B5F2D002}" srcOrd="0" destOrd="0" presId="urn:microsoft.com/office/officeart/2016/7/layout/VerticalHollowActionList"/>
    <dgm:cxn modelId="{00A3063E-6D89-4205-8532-B0D31115D3DE}" type="presParOf" srcId="{A12FBD8B-DF98-4718-A170-200E2E8BF99F}" destId="{00E8B977-F1F8-4F4F-8054-E978FD4665BF}" srcOrd="1" destOrd="0" presId="urn:microsoft.com/office/officeart/2016/7/layout/VerticalHollowAction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A39BDF8-7704-4C4F-8A35-824C13C4EA58}"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47F80C70-3231-4222-B9C2-01A76F13C8F3}">
      <dgm:prSet phldrT="[Text]"/>
      <dgm:spPr/>
      <dgm:t>
        <a:bodyPr/>
        <a:lstStyle/>
        <a:p>
          <a:r>
            <a:rPr lang="en-US"/>
            <a:t>Today’s Market   (Client Driven Market)</a:t>
          </a:r>
        </a:p>
      </dgm:t>
    </dgm:pt>
    <dgm:pt modelId="{F2CCA4C2-0041-4AE7-8058-414B2472FFA0}" type="parTrans" cxnId="{8676F731-057A-4433-AEA5-5B3A2DAB8134}">
      <dgm:prSet/>
      <dgm:spPr/>
      <dgm:t>
        <a:bodyPr/>
        <a:lstStyle/>
        <a:p>
          <a:endParaRPr lang="en-US"/>
        </a:p>
      </dgm:t>
    </dgm:pt>
    <dgm:pt modelId="{E9FF7FE2-CA4A-4AAC-9000-9DE752173124}" type="sibTrans" cxnId="{8676F731-057A-4433-AEA5-5B3A2DAB8134}">
      <dgm:prSet/>
      <dgm:spPr/>
      <dgm:t>
        <a:bodyPr/>
        <a:lstStyle/>
        <a:p>
          <a:endParaRPr lang="en-US"/>
        </a:p>
      </dgm:t>
    </dgm:pt>
    <dgm:pt modelId="{E9360214-8697-48ED-A9BF-7762FD6769B9}" type="asst">
      <dgm:prSet phldrT="[Text]"/>
      <dgm:spPr/>
      <dgm:t>
        <a:bodyPr/>
        <a:lstStyle/>
        <a:p>
          <a:r>
            <a:rPr lang="en-US"/>
            <a:t>Less New Roles</a:t>
          </a:r>
        </a:p>
      </dgm:t>
    </dgm:pt>
    <dgm:pt modelId="{C002134E-80E7-4746-9005-31FA252FA2B7}" type="parTrans" cxnId="{E31506D5-F43B-4EAC-B89F-116427DF3E58}">
      <dgm:prSet/>
      <dgm:spPr/>
      <dgm:t>
        <a:bodyPr/>
        <a:lstStyle/>
        <a:p>
          <a:endParaRPr lang="en-US"/>
        </a:p>
      </dgm:t>
    </dgm:pt>
    <dgm:pt modelId="{6FDB9A95-5E5C-45B5-BAD2-0C46974F8867}" type="sibTrans" cxnId="{E31506D5-F43B-4EAC-B89F-116427DF3E58}">
      <dgm:prSet/>
      <dgm:spPr/>
      <dgm:t>
        <a:bodyPr/>
        <a:lstStyle/>
        <a:p>
          <a:endParaRPr lang="en-US"/>
        </a:p>
      </dgm:t>
    </dgm:pt>
    <dgm:pt modelId="{33663C4B-444B-4DA4-A802-A1E063C144CF}">
      <dgm:prSet phldrT="[Text]"/>
      <dgm:spPr/>
      <dgm:t>
        <a:bodyPr/>
        <a:lstStyle/>
        <a:p>
          <a:r>
            <a:rPr lang="en-US"/>
            <a:t>Target very specific skillsets</a:t>
          </a:r>
        </a:p>
      </dgm:t>
    </dgm:pt>
    <dgm:pt modelId="{58F2D7FD-5030-4EF2-8643-8F839DF335C4}" type="parTrans" cxnId="{DA996D4C-5FB6-4343-B2D9-023AC5955874}">
      <dgm:prSet/>
      <dgm:spPr/>
      <dgm:t>
        <a:bodyPr/>
        <a:lstStyle/>
        <a:p>
          <a:endParaRPr lang="en-US"/>
        </a:p>
      </dgm:t>
    </dgm:pt>
    <dgm:pt modelId="{A2562083-E52C-4C1B-B639-AA9891CA4BFD}" type="sibTrans" cxnId="{DA996D4C-5FB6-4343-B2D9-023AC5955874}">
      <dgm:prSet/>
      <dgm:spPr/>
      <dgm:t>
        <a:bodyPr/>
        <a:lstStyle/>
        <a:p>
          <a:endParaRPr lang="en-US"/>
        </a:p>
      </dgm:t>
    </dgm:pt>
    <dgm:pt modelId="{18F29560-9AD9-4C05-B9C3-898B57097A6B}">
      <dgm:prSet phldrT="[Text]"/>
      <dgm:spPr/>
      <dgm:t>
        <a:bodyPr/>
        <a:lstStyle/>
        <a:p>
          <a:r>
            <a:rPr lang="en-US"/>
            <a:t>Heavier workload for the team</a:t>
          </a:r>
        </a:p>
      </dgm:t>
    </dgm:pt>
    <dgm:pt modelId="{AA30D055-8B6A-43A0-AD5F-B7C4694E6F2D}" type="parTrans" cxnId="{DE503981-7FE1-46D1-AA7E-D74F6ECB8E8E}">
      <dgm:prSet/>
      <dgm:spPr/>
      <dgm:t>
        <a:bodyPr/>
        <a:lstStyle/>
        <a:p>
          <a:endParaRPr lang="en-US"/>
        </a:p>
      </dgm:t>
    </dgm:pt>
    <dgm:pt modelId="{C3E16AFD-E3DF-48DC-8817-651F8FBA9C3E}" type="sibTrans" cxnId="{DE503981-7FE1-46D1-AA7E-D74F6ECB8E8E}">
      <dgm:prSet/>
      <dgm:spPr/>
      <dgm:t>
        <a:bodyPr/>
        <a:lstStyle/>
        <a:p>
          <a:endParaRPr lang="en-US"/>
        </a:p>
      </dgm:t>
    </dgm:pt>
    <dgm:pt modelId="{CE829EF6-88E8-4BF5-B093-1485AEF1C365}">
      <dgm:prSet phldrT="[Text]"/>
      <dgm:spPr/>
      <dgm:t>
        <a:bodyPr/>
        <a:lstStyle/>
        <a:p>
          <a:r>
            <a:rPr lang="en-US"/>
            <a:t>Less sell, more selective</a:t>
          </a:r>
        </a:p>
      </dgm:t>
    </dgm:pt>
    <dgm:pt modelId="{8341FBB3-3126-421A-A706-C10C6067016B}" type="parTrans" cxnId="{832ECA81-A09D-4743-B2B6-26ADC6F0FF77}">
      <dgm:prSet/>
      <dgm:spPr/>
      <dgm:t>
        <a:bodyPr/>
        <a:lstStyle/>
        <a:p>
          <a:endParaRPr lang="en-US"/>
        </a:p>
      </dgm:t>
    </dgm:pt>
    <dgm:pt modelId="{94C8AF3E-0C3C-49E4-9FB9-24890D978430}" type="sibTrans" cxnId="{832ECA81-A09D-4743-B2B6-26ADC6F0FF77}">
      <dgm:prSet/>
      <dgm:spPr/>
      <dgm:t>
        <a:bodyPr/>
        <a:lstStyle/>
        <a:p>
          <a:endParaRPr lang="en-US"/>
        </a:p>
      </dgm:t>
    </dgm:pt>
    <dgm:pt modelId="{8FC83E83-D9A9-4BE2-8CA4-8F953CDE1D53}" type="asst">
      <dgm:prSet phldrT="[Text]"/>
      <dgm:spPr/>
      <dgm:t>
        <a:bodyPr/>
        <a:lstStyle/>
        <a:p>
          <a:r>
            <a:rPr lang="en-US"/>
            <a:t>Candidate Heavy</a:t>
          </a:r>
        </a:p>
      </dgm:t>
    </dgm:pt>
    <dgm:pt modelId="{6207C173-D952-4F2B-A5C3-4266D8809C94}" type="parTrans" cxnId="{B4F9001D-ECB5-47A8-9BE3-B8F3C4701479}">
      <dgm:prSet/>
      <dgm:spPr/>
      <dgm:t>
        <a:bodyPr/>
        <a:lstStyle/>
        <a:p>
          <a:endParaRPr lang="en-US"/>
        </a:p>
      </dgm:t>
    </dgm:pt>
    <dgm:pt modelId="{DC35C926-5995-4687-91C3-865205611520}" type="sibTrans" cxnId="{B4F9001D-ECB5-47A8-9BE3-B8F3C4701479}">
      <dgm:prSet/>
      <dgm:spPr/>
      <dgm:t>
        <a:bodyPr/>
        <a:lstStyle/>
        <a:p>
          <a:endParaRPr lang="en-US"/>
        </a:p>
      </dgm:t>
    </dgm:pt>
    <dgm:pt modelId="{BB67258E-8840-4655-9FEA-110653D3AD91}" type="asst">
      <dgm:prSet phldrT="[Text]"/>
      <dgm:spPr/>
      <dgm:t>
        <a:bodyPr/>
        <a:lstStyle/>
        <a:p>
          <a:r>
            <a:rPr lang="en-US"/>
            <a:t>Budget Cuts</a:t>
          </a:r>
        </a:p>
      </dgm:t>
    </dgm:pt>
    <dgm:pt modelId="{2850429F-8AC6-4A43-89BE-C91A82D68596}" type="parTrans" cxnId="{585F1483-7279-44B8-A0FA-D3480FB2338E}">
      <dgm:prSet/>
      <dgm:spPr/>
      <dgm:t>
        <a:bodyPr/>
        <a:lstStyle/>
        <a:p>
          <a:endParaRPr lang="en-US"/>
        </a:p>
      </dgm:t>
    </dgm:pt>
    <dgm:pt modelId="{F9106B39-082C-4C2D-B87F-1FE93B8B4C27}" type="sibTrans" cxnId="{585F1483-7279-44B8-A0FA-D3480FB2338E}">
      <dgm:prSet/>
      <dgm:spPr/>
      <dgm:t>
        <a:bodyPr/>
        <a:lstStyle/>
        <a:p>
          <a:endParaRPr lang="en-US"/>
        </a:p>
      </dgm:t>
    </dgm:pt>
    <dgm:pt modelId="{B35D932C-BD47-4C1B-89D5-FF27A1CCD5A6}" type="pres">
      <dgm:prSet presAssocID="{9A39BDF8-7704-4C4F-8A35-824C13C4EA58}" presName="hierChild1" presStyleCnt="0">
        <dgm:presLayoutVars>
          <dgm:orgChart val="1"/>
          <dgm:chPref val="1"/>
          <dgm:dir/>
          <dgm:animOne val="branch"/>
          <dgm:animLvl val="lvl"/>
          <dgm:resizeHandles/>
        </dgm:presLayoutVars>
      </dgm:prSet>
      <dgm:spPr/>
    </dgm:pt>
    <dgm:pt modelId="{CF0FA61E-627A-491E-AD68-644B0BBEFCFE}" type="pres">
      <dgm:prSet presAssocID="{47F80C70-3231-4222-B9C2-01A76F13C8F3}" presName="hierRoot1" presStyleCnt="0">
        <dgm:presLayoutVars>
          <dgm:hierBranch val="init"/>
        </dgm:presLayoutVars>
      </dgm:prSet>
      <dgm:spPr/>
    </dgm:pt>
    <dgm:pt modelId="{360D7BC4-B555-4043-8FB8-41B4A3B59DFF}" type="pres">
      <dgm:prSet presAssocID="{47F80C70-3231-4222-B9C2-01A76F13C8F3}" presName="rootComposite1" presStyleCnt="0"/>
      <dgm:spPr/>
    </dgm:pt>
    <dgm:pt modelId="{B4141CFC-0E15-443C-AE4E-F2E20F49EDF7}" type="pres">
      <dgm:prSet presAssocID="{47F80C70-3231-4222-B9C2-01A76F13C8F3}" presName="rootText1" presStyleLbl="node0" presStyleIdx="0" presStyleCnt="1">
        <dgm:presLayoutVars>
          <dgm:chPref val="3"/>
        </dgm:presLayoutVars>
      </dgm:prSet>
      <dgm:spPr/>
    </dgm:pt>
    <dgm:pt modelId="{8C857EFC-22A5-4118-AAEB-682C635E8F1E}" type="pres">
      <dgm:prSet presAssocID="{47F80C70-3231-4222-B9C2-01A76F13C8F3}" presName="rootConnector1" presStyleLbl="node1" presStyleIdx="0" presStyleCnt="0"/>
      <dgm:spPr/>
    </dgm:pt>
    <dgm:pt modelId="{9A0CD46D-FBFA-4FF7-9151-898A803DF876}" type="pres">
      <dgm:prSet presAssocID="{47F80C70-3231-4222-B9C2-01A76F13C8F3}" presName="hierChild2" presStyleCnt="0"/>
      <dgm:spPr/>
    </dgm:pt>
    <dgm:pt modelId="{4BEC8CFA-15FA-4C19-9F4A-B25BE5C318E5}" type="pres">
      <dgm:prSet presAssocID="{58F2D7FD-5030-4EF2-8643-8F839DF335C4}" presName="Name37" presStyleLbl="parChTrans1D2" presStyleIdx="0" presStyleCnt="6"/>
      <dgm:spPr/>
    </dgm:pt>
    <dgm:pt modelId="{E7FC764F-0E70-4A7A-8C73-2F6A759CD3F1}" type="pres">
      <dgm:prSet presAssocID="{33663C4B-444B-4DA4-A802-A1E063C144CF}" presName="hierRoot2" presStyleCnt="0">
        <dgm:presLayoutVars>
          <dgm:hierBranch val="init"/>
        </dgm:presLayoutVars>
      </dgm:prSet>
      <dgm:spPr/>
    </dgm:pt>
    <dgm:pt modelId="{334586BA-2DC8-4340-9AF6-1364B5DDB657}" type="pres">
      <dgm:prSet presAssocID="{33663C4B-444B-4DA4-A802-A1E063C144CF}" presName="rootComposite" presStyleCnt="0"/>
      <dgm:spPr/>
    </dgm:pt>
    <dgm:pt modelId="{A469CBE1-23FA-4B85-AEAF-D95B82D82DF8}" type="pres">
      <dgm:prSet presAssocID="{33663C4B-444B-4DA4-A802-A1E063C144CF}" presName="rootText" presStyleLbl="node2" presStyleIdx="0" presStyleCnt="3">
        <dgm:presLayoutVars>
          <dgm:chPref val="3"/>
        </dgm:presLayoutVars>
      </dgm:prSet>
      <dgm:spPr/>
    </dgm:pt>
    <dgm:pt modelId="{6927AE9A-6D08-47BB-9400-F8C7A2E10576}" type="pres">
      <dgm:prSet presAssocID="{33663C4B-444B-4DA4-A802-A1E063C144CF}" presName="rootConnector" presStyleLbl="node2" presStyleIdx="0" presStyleCnt="3"/>
      <dgm:spPr/>
    </dgm:pt>
    <dgm:pt modelId="{DFC6E8D3-61F1-4C8C-B717-1FEED48B2948}" type="pres">
      <dgm:prSet presAssocID="{33663C4B-444B-4DA4-A802-A1E063C144CF}" presName="hierChild4" presStyleCnt="0"/>
      <dgm:spPr/>
    </dgm:pt>
    <dgm:pt modelId="{CB6F6B61-3099-4190-BB87-E75CC7AC7EE5}" type="pres">
      <dgm:prSet presAssocID="{33663C4B-444B-4DA4-A802-A1E063C144CF}" presName="hierChild5" presStyleCnt="0"/>
      <dgm:spPr/>
    </dgm:pt>
    <dgm:pt modelId="{0F3914CC-6FBF-42FE-9EC8-4BD8BE17F223}" type="pres">
      <dgm:prSet presAssocID="{AA30D055-8B6A-43A0-AD5F-B7C4694E6F2D}" presName="Name37" presStyleLbl="parChTrans1D2" presStyleIdx="1" presStyleCnt="6"/>
      <dgm:spPr/>
    </dgm:pt>
    <dgm:pt modelId="{A75AAB67-F1C4-44D6-9D0C-8CA6E98E8648}" type="pres">
      <dgm:prSet presAssocID="{18F29560-9AD9-4C05-B9C3-898B57097A6B}" presName="hierRoot2" presStyleCnt="0">
        <dgm:presLayoutVars>
          <dgm:hierBranch val="init"/>
        </dgm:presLayoutVars>
      </dgm:prSet>
      <dgm:spPr/>
    </dgm:pt>
    <dgm:pt modelId="{1A6783DF-CC4F-4692-B147-51BA499675F3}" type="pres">
      <dgm:prSet presAssocID="{18F29560-9AD9-4C05-B9C3-898B57097A6B}" presName="rootComposite" presStyleCnt="0"/>
      <dgm:spPr/>
    </dgm:pt>
    <dgm:pt modelId="{800441F0-15EA-4510-9C0A-C859D0E0DC57}" type="pres">
      <dgm:prSet presAssocID="{18F29560-9AD9-4C05-B9C3-898B57097A6B}" presName="rootText" presStyleLbl="node2" presStyleIdx="1" presStyleCnt="3">
        <dgm:presLayoutVars>
          <dgm:chPref val="3"/>
        </dgm:presLayoutVars>
      </dgm:prSet>
      <dgm:spPr/>
    </dgm:pt>
    <dgm:pt modelId="{5AD1B4A9-A6E5-45DB-A74A-3CB2822BAA61}" type="pres">
      <dgm:prSet presAssocID="{18F29560-9AD9-4C05-B9C3-898B57097A6B}" presName="rootConnector" presStyleLbl="node2" presStyleIdx="1" presStyleCnt="3"/>
      <dgm:spPr/>
    </dgm:pt>
    <dgm:pt modelId="{3685F077-BC68-4BAD-B98E-B58B85DA3A9A}" type="pres">
      <dgm:prSet presAssocID="{18F29560-9AD9-4C05-B9C3-898B57097A6B}" presName="hierChild4" presStyleCnt="0"/>
      <dgm:spPr/>
    </dgm:pt>
    <dgm:pt modelId="{48CE3E5B-79B0-46CB-AD76-D80E39929F55}" type="pres">
      <dgm:prSet presAssocID="{18F29560-9AD9-4C05-B9C3-898B57097A6B}" presName="hierChild5" presStyleCnt="0"/>
      <dgm:spPr/>
    </dgm:pt>
    <dgm:pt modelId="{8C339D54-4314-4D1D-822A-66EEF26661D9}" type="pres">
      <dgm:prSet presAssocID="{8341FBB3-3126-421A-A706-C10C6067016B}" presName="Name37" presStyleLbl="parChTrans1D2" presStyleIdx="2" presStyleCnt="6"/>
      <dgm:spPr/>
    </dgm:pt>
    <dgm:pt modelId="{0C867175-0C80-4DD2-BB0E-1DFA31941AB8}" type="pres">
      <dgm:prSet presAssocID="{CE829EF6-88E8-4BF5-B093-1485AEF1C365}" presName="hierRoot2" presStyleCnt="0">
        <dgm:presLayoutVars>
          <dgm:hierBranch val="init"/>
        </dgm:presLayoutVars>
      </dgm:prSet>
      <dgm:spPr/>
    </dgm:pt>
    <dgm:pt modelId="{2C200A4E-E58D-467B-A01B-62C50B018C1F}" type="pres">
      <dgm:prSet presAssocID="{CE829EF6-88E8-4BF5-B093-1485AEF1C365}" presName="rootComposite" presStyleCnt="0"/>
      <dgm:spPr/>
    </dgm:pt>
    <dgm:pt modelId="{45D2D42E-5C66-4BAD-8496-397D5F42DF8E}" type="pres">
      <dgm:prSet presAssocID="{CE829EF6-88E8-4BF5-B093-1485AEF1C365}" presName="rootText" presStyleLbl="node2" presStyleIdx="2" presStyleCnt="3">
        <dgm:presLayoutVars>
          <dgm:chPref val="3"/>
        </dgm:presLayoutVars>
      </dgm:prSet>
      <dgm:spPr/>
    </dgm:pt>
    <dgm:pt modelId="{AFFE53AF-F793-4C38-A614-D119E781AA6D}" type="pres">
      <dgm:prSet presAssocID="{CE829EF6-88E8-4BF5-B093-1485AEF1C365}" presName="rootConnector" presStyleLbl="node2" presStyleIdx="2" presStyleCnt="3"/>
      <dgm:spPr/>
    </dgm:pt>
    <dgm:pt modelId="{9F7A91C0-1F77-43EF-A06A-773402178F37}" type="pres">
      <dgm:prSet presAssocID="{CE829EF6-88E8-4BF5-B093-1485AEF1C365}" presName="hierChild4" presStyleCnt="0"/>
      <dgm:spPr/>
    </dgm:pt>
    <dgm:pt modelId="{7483D9D5-B1C7-4826-99F5-A5E9FB03F8B6}" type="pres">
      <dgm:prSet presAssocID="{CE829EF6-88E8-4BF5-B093-1485AEF1C365}" presName="hierChild5" presStyleCnt="0"/>
      <dgm:spPr/>
    </dgm:pt>
    <dgm:pt modelId="{AEEA088F-FB18-4896-8561-911D3F37E71F}" type="pres">
      <dgm:prSet presAssocID="{47F80C70-3231-4222-B9C2-01A76F13C8F3}" presName="hierChild3" presStyleCnt="0"/>
      <dgm:spPr/>
    </dgm:pt>
    <dgm:pt modelId="{A7A612A3-F4A6-407D-BD97-0C5CCCEA14CB}" type="pres">
      <dgm:prSet presAssocID="{C002134E-80E7-4746-9005-31FA252FA2B7}" presName="Name111" presStyleLbl="parChTrans1D2" presStyleIdx="3" presStyleCnt="6"/>
      <dgm:spPr/>
    </dgm:pt>
    <dgm:pt modelId="{FF562D7D-51A7-4A3F-BE68-953C507AF385}" type="pres">
      <dgm:prSet presAssocID="{E9360214-8697-48ED-A9BF-7762FD6769B9}" presName="hierRoot3" presStyleCnt="0">
        <dgm:presLayoutVars>
          <dgm:hierBranch val="init"/>
        </dgm:presLayoutVars>
      </dgm:prSet>
      <dgm:spPr/>
    </dgm:pt>
    <dgm:pt modelId="{28AC6336-89C7-467E-A5C1-C68DA8272312}" type="pres">
      <dgm:prSet presAssocID="{E9360214-8697-48ED-A9BF-7762FD6769B9}" presName="rootComposite3" presStyleCnt="0"/>
      <dgm:spPr/>
    </dgm:pt>
    <dgm:pt modelId="{0816F75A-842B-4090-A589-9A67F392C2E2}" type="pres">
      <dgm:prSet presAssocID="{E9360214-8697-48ED-A9BF-7762FD6769B9}" presName="rootText3" presStyleLbl="asst1" presStyleIdx="0" presStyleCnt="3">
        <dgm:presLayoutVars>
          <dgm:chPref val="3"/>
        </dgm:presLayoutVars>
      </dgm:prSet>
      <dgm:spPr/>
    </dgm:pt>
    <dgm:pt modelId="{0128F713-173C-4632-B079-7A4F71F3E08D}" type="pres">
      <dgm:prSet presAssocID="{E9360214-8697-48ED-A9BF-7762FD6769B9}" presName="rootConnector3" presStyleLbl="asst1" presStyleIdx="0" presStyleCnt="3"/>
      <dgm:spPr/>
    </dgm:pt>
    <dgm:pt modelId="{2AEE1136-AF57-4900-A5E1-ED234497F93C}" type="pres">
      <dgm:prSet presAssocID="{E9360214-8697-48ED-A9BF-7762FD6769B9}" presName="hierChild6" presStyleCnt="0"/>
      <dgm:spPr/>
    </dgm:pt>
    <dgm:pt modelId="{87521D41-DF65-4A0C-906B-3DC287C57BF2}" type="pres">
      <dgm:prSet presAssocID="{E9360214-8697-48ED-A9BF-7762FD6769B9}" presName="hierChild7" presStyleCnt="0"/>
      <dgm:spPr/>
    </dgm:pt>
    <dgm:pt modelId="{B496C8C5-2134-4328-BD53-A8392C8B40F6}" type="pres">
      <dgm:prSet presAssocID="{6207C173-D952-4F2B-A5C3-4266D8809C94}" presName="Name111" presStyleLbl="parChTrans1D2" presStyleIdx="4" presStyleCnt="6"/>
      <dgm:spPr/>
    </dgm:pt>
    <dgm:pt modelId="{DDA4F2AB-2D3D-4988-8472-A555334AB39D}" type="pres">
      <dgm:prSet presAssocID="{8FC83E83-D9A9-4BE2-8CA4-8F953CDE1D53}" presName="hierRoot3" presStyleCnt="0">
        <dgm:presLayoutVars>
          <dgm:hierBranch val="init"/>
        </dgm:presLayoutVars>
      </dgm:prSet>
      <dgm:spPr/>
    </dgm:pt>
    <dgm:pt modelId="{34EFFE05-E01F-4263-86D5-46C5453A887C}" type="pres">
      <dgm:prSet presAssocID="{8FC83E83-D9A9-4BE2-8CA4-8F953CDE1D53}" presName="rootComposite3" presStyleCnt="0"/>
      <dgm:spPr/>
    </dgm:pt>
    <dgm:pt modelId="{305EA77E-504D-4ADC-B68E-9F852829606E}" type="pres">
      <dgm:prSet presAssocID="{8FC83E83-D9A9-4BE2-8CA4-8F953CDE1D53}" presName="rootText3" presStyleLbl="asst1" presStyleIdx="1" presStyleCnt="3">
        <dgm:presLayoutVars>
          <dgm:chPref val="3"/>
        </dgm:presLayoutVars>
      </dgm:prSet>
      <dgm:spPr/>
    </dgm:pt>
    <dgm:pt modelId="{0875D686-7E77-41D1-AE32-6AC09CC17277}" type="pres">
      <dgm:prSet presAssocID="{8FC83E83-D9A9-4BE2-8CA4-8F953CDE1D53}" presName="rootConnector3" presStyleLbl="asst1" presStyleIdx="1" presStyleCnt="3"/>
      <dgm:spPr/>
    </dgm:pt>
    <dgm:pt modelId="{B66C3805-9B85-4D72-A992-E84BAFE330DF}" type="pres">
      <dgm:prSet presAssocID="{8FC83E83-D9A9-4BE2-8CA4-8F953CDE1D53}" presName="hierChild6" presStyleCnt="0"/>
      <dgm:spPr/>
    </dgm:pt>
    <dgm:pt modelId="{9E847692-A835-48C1-A261-FD57FBE21E86}" type="pres">
      <dgm:prSet presAssocID="{8FC83E83-D9A9-4BE2-8CA4-8F953CDE1D53}" presName="hierChild7" presStyleCnt="0"/>
      <dgm:spPr/>
    </dgm:pt>
    <dgm:pt modelId="{0D49C2B0-CFB9-447D-B133-01DB43168BEC}" type="pres">
      <dgm:prSet presAssocID="{2850429F-8AC6-4A43-89BE-C91A82D68596}" presName="Name111" presStyleLbl="parChTrans1D2" presStyleIdx="5" presStyleCnt="6"/>
      <dgm:spPr/>
    </dgm:pt>
    <dgm:pt modelId="{F3CFC286-F9E2-493A-BFC2-D5BB5AE3BD8C}" type="pres">
      <dgm:prSet presAssocID="{BB67258E-8840-4655-9FEA-110653D3AD91}" presName="hierRoot3" presStyleCnt="0">
        <dgm:presLayoutVars>
          <dgm:hierBranch val="init"/>
        </dgm:presLayoutVars>
      </dgm:prSet>
      <dgm:spPr/>
    </dgm:pt>
    <dgm:pt modelId="{2E2D5EEF-DE07-4655-8F9D-5F5E60F32733}" type="pres">
      <dgm:prSet presAssocID="{BB67258E-8840-4655-9FEA-110653D3AD91}" presName="rootComposite3" presStyleCnt="0"/>
      <dgm:spPr/>
    </dgm:pt>
    <dgm:pt modelId="{483A609A-5BD4-4BD9-9AD0-E5ED07FA77DE}" type="pres">
      <dgm:prSet presAssocID="{BB67258E-8840-4655-9FEA-110653D3AD91}" presName="rootText3" presStyleLbl="asst1" presStyleIdx="2" presStyleCnt="3">
        <dgm:presLayoutVars>
          <dgm:chPref val="3"/>
        </dgm:presLayoutVars>
      </dgm:prSet>
      <dgm:spPr/>
    </dgm:pt>
    <dgm:pt modelId="{A239F2F8-08EE-4C4D-9C22-AC9E07C709DA}" type="pres">
      <dgm:prSet presAssocID="{BB67258E-8840-4655-9FEA-110653D3AD91}" presName="rootConnector3" presStyleLbl="asst1" presStyleIdx="2" presStyleCnt="3"/>
      <dgm:spPr/>
    </dgm:pt>
    <dgm:pt modelId="{6C970E58-D5B0-46E6-8B32-7535DF072E82}" type="pres">
      <dgm:prSet presAssocID="{BB67258E-8840-4655-9FEA-110653D3AD91}" presName="hierChild6" presStyleCnt="0"/>
      <dgm:spPr/>
    </dgm:pt>
    <dgm:pt modelId="{C4A9159C-BC71-48F6-82F6-DB768F4B748A}" type="pres">
      <dgm:prSet presAssocID="{BB67258E-8840-4655-9FEA-110653D3AD91}" presName="hierChild7" presStyleCnt="0"/>
      <dgm:spPr/>
    </dgm:pt>
  </dgm:ptLst>
  <dgm:cxnLst>
    <dgm:cxn modelId="{6806BC00-6F71-4AC7-A587-F2CE1904F9A5}" type="presOf" srcId="{E9360214-8697-48ED-A9BF-7762FD6769B9}" destId="{0816F75A-842B-4090-A589-9A67F392C2E2}" srcOrd="0" destOrd="0" presId="urn:microsoft.com/office/officeart/2005/8/layout/orgChart1"/>
    <dgm:cxn modelId="{EDA55F0D-74F6-4087-9479-34EB4181C302}" type="presOf" srcId="{8FC83E83-D9A9-4BE2-8CA4-8F953CDE1D53}" destId="{305EA77E-504D-4ADC-B68E-9F852829606E}" srcOrd="0" destOrd="0" presId="urn:microsoft.com/office/officeart/2005/8/layout/orgChart1"/>
    <dgm:cxn modelId="{EF694111-1868-4CF5-BF87-64923149454D}" type="presOf" srcId="{2850429F-8AC6-4A43-89BE-C91A82D68596}" destId="{0D49C2B0-CFB9-447D-B133-01DB43168BEC}" srcOrd="0" destOrd="0" presId="urn:microsoft.com/office/officeart/2005/8/layout/orgChart1"/>
    <dgm:cxn modelId="{037D9912-30CF-49FF-954D-4AA97FEA045F}" type="presOf" srcId="{58F2D7FD-5030-4EF2-8643-8F839DF335C4}" destId="{4BEC8CFA-15FA-4C19-9F4A-B25BE5C318E5}" srcOrd="0" destOrd="0" presId="urn:microsoft.com/office/officeart/2005/8/layout/orgChart1"/>
    <dgm:cxn modelId="{200CAD19-9423-451F-B35D-E1B06B47775C}" type="presOf" srcId="{CE829EF6-88E8-4BF5-B093-1485AEF1C365}" destId="{45D2D42E-5C66-4BAD-8496-397D5F42DF8E}" srcOrd="0" destOrd="0" presId="urn:microsoft.com/office/officeart/2005/8/layout/orgChart1"/>
    <dgm:cxn modelId="{B4F9001D-ECB5-47A8-9BE3-B8F3C4701479}" srcId="{47F80C70-3231-4222-B9C2-01A76F13C8F3}" destId="{8FC83E83-D9A9-4BE2-8CA4-8F953CDE1D53}" srcOrd="1" destOrd="0" parTransId="{6207C173-D952-4F2B-A5C3-4266D8809C94}" sibTransId="{DC35C926-5995-4687-91C3-865205611520}"/>
    <dgm:cxn modelId="{8676F731-057A-4433-AEA5-5B3A2DAB8134}" srcId="{9A39BDF8-7704-4C4F-8A35-824C13C4EA58}" destId="{47F80C70-3231-4222-B9C2-01A76F13C8F3}" srcOrd="0" destOrd="0" parTransId="{F2CCA4C2-0041-4AE7-8058-414B2472FFA0}" sibTransId="{E9FF7FE2-CA4A-4AAC-9000-9DE752173124}"/>
    <dgm:cxn modelId="{B2992633-A994-4D8C-963C-CDC57BC1D071}" type="presOf" srcId="{47F80C70-3231-4222-B9C2-01A76F13C8F3}" destId="{8C857EFC-22A5-4118-AAEB-682C635E8F1E}" srcOrd="1" destOrd="0" presId="urn:microsoft.com/office/officeart/2005/8/layout/orgChart1"/>
    <dgm:cxn modelId="{079A065C-DF80-45B6-8624-B5935FBD1814}" type="presOf" srcId="{CE829EF6-88E8-4BF5-B093-1485AEF1C365}" destId="{AFFE53AF-F793-4C38-A614-D119E781AA6D}" srcOrd="1" destOrd="0" presId="urn:microsoft.com/office/officeart/2005/8/layout/orgChart1"/>
    <dgm:cxn modelId="{A0992B67-183B-4674-B233-698DAB026A8C}" type="presOf" srcId="{18F29560-9AD9-4C05-B9C3-898B57097A6B}" destId="{5AD1B4A9-A6E5-45DB-A74A-3CB2822BAA61}" srcOrd="1" destOrd="0" presId="urn:microsoft.com/office/officeart/2005/8/layout/orgChart1"/>
    <dgm:cxn modelId="{9B035247-1671-47C5-B955-3A9704635145}" type="presOf" srcId="{E9360214-8697-48ED-A9BF-7762FD6769B9}" destId="{0128F713-173C-4632-B079-7A4F71F3E08D}" srcOrd="1" destOrd="0" presId="urn:microsoft.com/office/officeart/2005/8/layout/orgChart1"/>
    <dgm:cxn modelId="{DA996D4C-5FB6-4343-B2D9-023AC5955874}" srcId="{47F80C70-3231-4222-B9C2-01A76F13C8F3}" destId="{33663C4B-444B-4DA4-A802-A1E063C144CF}" srcOrd="3" destOrd="0" parTransId="{58F2D7FD-5030-4EF2-8643-8F839DF335C4}" sibTransId="{A2562083-E52C-4C1B-B639-AA9891CA4BFD}"/>
    <dgm:cxn modelId="{864A1151-D107-440F-B55E-696F3BF0763F}" type="presOf" srcId="{BB67258E-8840-4655-9FEA-110653D3AD91}" destId="{483A609A-5BD4-4BD9-9AD0-E5ED07FA77DE}" srcOrd="0" destOrd="0" presId="urn:microsoft.com/office/officeart/2005/8/layout/orgChart1"/>
    <dgm:cxn modelId="{07DC6455-5A6C-4FAB-9AF6-0559A571E94B}" type="presOf" srcId="{47F80C70-3231-4222-B9C2-01A76F13C8F3}" destId="{B4141CFC-0E15-443C-AE4E-F2E20F49EDF7}" srcOrd="0" destOrd="0" presId="urn:microsoft.com/office/officeart/2005/8/layout/orgChart1"/>
    <dgm:cxn modelId="{FBECA657-419E-44D5-BB07-038B60603BED}" type="presOf" srcId="{BB67258E-8840-4655-9FEA-110653D3AD91}" destId="{A239F2F8-08EE-4C4D-9C22-AC9E07C709DA}" srcOrd="1" destOrd="0" presId="urn:microsoft.com/office/officeart/2005/8/layout/orgChart1"/>
    <dgm:cxn modelId="{DE503981-7FE1-46D1-AA7E-D74F6ECB8E8E}" srcId="{47F80C70-3231-4222-B9C2-01A76F13C8F3}" destId="{18F29560-9AD9-4C05-B9C3-898B57097A6B}" srcOrd="4" destOrd="0" parTransId="{AA30D055-8B6A-43A0-AD5F-B7C4694E6F2D}" sibTransId="{C3E16AFD-E3DF-48DC-8817-651F8FBA9C3E}"/>
    <dgm:cxn modelId="{832ECA81-A09D-4743-B2B6-26ADC6F0FF77}" srcId="{47F80C70-3231-4222-B9C2-01A76F13C8F3}" destId="{CE829EF6-88E8-4BF5-B093-1485AEF1C365}" srcOrd="5" destOrd="0" parTransId="{8341FBB3-3126-421A-A706-C10C6067016B}" sibTransId="{94C8AF3E-0C3C-49E4-9FB9-24890D978430}"/>
    <dgm:cxn modelId="{585F1483-7279-44B8-A0FA-D3480FB2338E}" srcId="{47F80C70-3231-4222-B9C2-01A76F13C8F3}" destId="{BB67258E-8840-4655-9FEA-110653D3AD91}" srcOrd="2" destOrd="0" parTransId="{2850429F-8AC6-4A43-89BE-C91A82D68596}" sibTransId="{F9106B39-082C-4C2D-B87F-1FE93B8B4C27}"/>
    <dgm:cxn modelId="{01865984-53C7-4529-A861-246AB8548BB4}" type="presOf" srcId="{9A39BDF8-7704-4C4F-8A35-824C13C4EA58}" destId="{B35D932C-BD47-4C1B-89D5-FF27A1CCD5A6}" srcOrd="0" destOrd="0" presId="urn:microsoft.com/office/officeart/2005/8/layout/orgChart1"/>
    <dgm:cxn modelId="{52E7DE88-36CF-4942-8D54-30C8DB9310EC}" type="presOf" srcId="{33663C4B-444B-4DA4-A802-A1E063C144CF}" destId="{A469CBE1-23FA-4B85-AEAF-D95B82D82DF8}" srcOrd="0" destOrd="0" presId="urn:microsoft.com/office/officeart/2005/8/layout/orgChart1"/>
    <dgm:cxn modelId="{B2DD7E95-74C3-44F5-AE23-2FA6767A447F}" type="presOf" srcId="{8341FBB3-3126-421A-A706-C10C6067016B}" destId="{8C339D54-4314-4D1D-822A-66EEF26661D9}" srcOrd="0" destOrd="0" presId="urn:microsoft.com/office/officeart/2005/8/layout/orgChart1"/>
    <dgm:cxn modelId="{A4D04C9D-6FE3-4555-B2B4-6F6AF8D03C64}" type="presOf" srcId="{C002134E-80E7-4746-9005-31FA252FA2B7}" destId="{A7A612A3-F4A6-407D-BD97-0C5CCCEA14CB}" srcOrd="0" destOrd="0" presId="urn:microsoft.com/office/officeart/2005/8/layout/orgChart1"/>
    <dgm:cxn modelId="{D12238AD-25DE-416B-BF4E-6D6B40E80521}" type="presOf" srcId="{33663C4B-444B-4DA4-A802-A1E063C144CF}" destId="{6927AE9A-6D08-47BB-9400-F8C7A2E10576}" srcOrd="1" destOrd="0" presId="urn:microsoft.com/office/officeart/2005/8/layout/orgChart1"/>
    <dgm:cxn modelId="{9F4D65BA-764C-499D-8C22-ECE32AC2F865}" type="presOf" srcId="{18F29560-9AD9-4C05-B9C3-898B57097A6B}" destId="{800441F0-15EA-4510-9C0A-C859D0E0DC57}" srcOrd="0" destOrd="0" presId="urn:microsoft.com/office/officeart/2005/8/layout/orgChart1"/>
    <dgm:cxn modelId="{F55103BF-7913-4956-8E97-C7907B5CD8DD}" type="presOf" srcId="{6207C173-D952-4F2B-A5C3-4266D8809C94}" destId="{B496C8C5-2134-4328-BD53-A8392C8B40F6}" srcOrd="0" destOrd="0" presId="urn:microsoft.com/office/officeart/2005/8/layout/orgChart1"/>
    <dgm:cxn modelId="{1E4B7FCF-846B-4E73-96BA-4303D9878773}" type="presOf" srcId="{8FC83E83-D9A9-4BE2-8CA4-8F953CDE1D53}" destId="{0875D686-7E77-41D1-AE32-6AC09CC17277}" srcOrd="1" destOrd="0" presId="urn:microsoft.com/office/officeart/2005/8/layout/orgChart1"/>
    <dgm:cxn modelId="{E31506D5-F43B-4EAC-B89F-116427DF3E58}" srcId="{47F80C70-3231-4222-B9C2-01A76F13C8F3}" destId="{E9360214-8697-48ED-A9BF-7762FD6769B9}" srcOrd="0" destOrd="0" parTransId="{C002134E-80E7-4746-9005-31FA252FA2B7}" sibTransId="{6FDB9A95-5E5C-45B5-BAD2-0C46974F8867}"/>
    <dgm:cxn modelId="{F48DBAEE-96BD-423A-9BD7-2E68CDABDAC9}" type="presOf" srcId="{AA30D055-8B6A-43A0-AD5F-B7C4694E6F2D}" destId="{0F3914CC-6FBF-42FE-9EC8-4BD8BE17F223}" srcOrd="0" destOrd="0" presId="urn:microsoft.com/office/officeart/2005/8/layout/orgChart1"/>
    <dgm:cxn modelId="{F4C0AEEE-D204-4BB1-8C7C-38084E770B8B}" type="presParOf" srcId="{B35D932C-BD47-4C1B-89D5-FF27A1CCD5A6}" destId="{CF0FA61E-627A-491E-AD68-644B0BBEFCFE}" srcOrd="0" destOrd="0" presId="urn:microsoft.com/office/officeart/2005/8/layout/orgChart1"/>
    <dgm:cxn modelId="{FB9B151A-CC70-4CB8-98D5-169572F9046E}" type="presParOf" srcId="{CF0FA61E-627A-491E-AD68-644B0BBEFCFE}" destId="{360D7BC4-B555-4043-8FB8-41B4A3B59DFF}" srcOrd="0" destOrd="0" presId="urn:microsoft.com/office/officeart/2005/8/layout/orgChart1"/>
    <dgm:cxn modelId="{1C0C8D0E-C25A-4E35-AB43-AB1088E724D2}" type="presParOf" srcId="{360D7BC4-B555-4043-8FB8-41B4A3B59DFF}" destId="{B4141CFC-0E15-443C-AE4E-F2E20F49EDF7}" srcOrd="0" destOrd="0" presId="urn:microsoft.com/office/officeart/2005/8/layout/orgChart1"/>
    <dgm:cxn modelId="{0C3C6A28-2085-483E-9BEC-B62C4A9DCFE2}" type="presParOf" srcId="{360D7BC4-B555-4043-8FB8-41B4A3B59DFF}" destId="{8C857EFC-22A5-4118-AAEB-682C635E8F1E}" srcOrd="1" destOrd="0" presId="urn:microsoft.com/office/officeart/2005/8/layout/orgChart1"/>
    <dgm:cxn modelId="{B7EAEB48-55A6-4B2A-9AE8-3FC05DC0FAD5}" type="presParOf" srcId="{CF0FA61E-627A-491E-AD68-644B0BBEFCFE}" destId="{9A0CD46D-FBFA-4FF7-9151-898A803DF876}" srcOrd="1" destOrd="0" presId="urn:microsoft.com/office/officeart/2005/8/layout/orgChart1"/>
    <dgm:cxn modelId="{20891E47-92D8-4F83-8530-68585BBE8AE9}" type="presParOf" srcId="{9A0CD46D-FBFA-4FF7-9151-898A803DF876}" destId="{4BEC8CFA-15FA-4C19-9F4A-B25BE5C318E5}" srcOrd="0" destOrd="0" presId="urn:microsoft.com/office/officeart/2005/8/layout/orgChart1"/>
    <dgm:cxn modelId="{C01ED061-81A5-400E-AD89-029333E92E1F}" type="presParOf" srcId="{9A0CD46D-FBFA-4FF7-9151-898A803DF876}" destId="{E7FC764F-0E70-4A7A-8C73-2F6A759CD3F1}" srcOrd="1" destOrd="0" presId="urn:microsoft.com/office/officeart/2005/8/layout/orgChart1"/>
    <dgm:cxn modelId="{1E8F784F-2EF4-40F5-9ED7-75FB19074668}" type="presParOf" srcId="{E7FC764F-0E70-4A7A-8C73-2F6A759CD3F1}" destId="{334586BA-2DC8-4340-9AF6-1364B5DDB657}" srcOrd="0" destOrd="0" presId="urn:microsoft.com/office/officeart/2005/8/layout/orgChart1"/>
    <dgm:cxn modelId="{C20EAE5A-F6E4-49FE-944A-1E9E4B6EDDA6}" type="presParOf" srcId="{334586BA-2DC8-4340-9AF6-1364B5DDB657}" destId="{A469CBE1-23FA-4B85-AEAF-D95B82D82DF8}" srcOrd="0" destOrd="0" presId="urn:microsoft.com/office/officeart/2005/8/layout/orgChart1"/>
    <dgm:cxn modelId="{EFE4D634-3FF4-4C89-B849-183FA7BDD322}" type="presParOf" srcId="{334586BA-2DC8-4340-9AF6-1364B5DDB657}" destId="{6927AE9A-6D08-47BB-9400-F8C7A2E10576}" srcOrd="1" destOrd="0" presId="urn:microsoft.com/office/officeart/2005/8/layout/orgChart1"/>
    <dgm:cxn modelId="{C55B70D3-2BEB-4696-A461-7772ECD9CCDC}" type="presParOf" srcId="{E7FC764F-0E70-4A7A-8C73-2F6A759CD3F1}" destId="{DFC6E8D3-61F1-4C8C-B717-1FEED48B2948}" srcOrd="1" destOrd="0" presId="urn:microsoft.com/office/officeart/2005/8/layout/orgChart1"/>
    <dgm:cxn modelId="{EF12D47B-FE7F-48FB-9C29-93ECD62F260F}" type="presParOf" srcId="{E7FC764F-0E70-4A7A-8C73-2F6A759CD3F1}" destId="{CB6F6B61-3099-4190-BB87-E75CC7AC7EE5}" srcOrd="2" destOrd="0" presId="urn:microsoft.com/office/officeart/2005/8/layout/orgChart1"/>
    <dgm:cxn modelId="{3DDF09B0-DC4D-4810-9763-C98EA0DDBAE2}" type="presParOf" srcId="{9A0CD46D-FBFA-4FF7-9151-898A803DF876}" destId="{0F3914CC-6FBF-42FE-9EC8-4BD8BE17F223}" srcOrd="2" destOrd="0" presId="urn:microsoft.com/office/officeart/2005/8/layout/orgChart1"/>
    <dgm:cxn modelId="{E24533AA-544E-44A8-93EC-263642A88F7D}" type="presParOf" srcId="{9A0CD46D-FBFA-4FF7-9151-898A803DF876}" destId="{A75AAB67-F1C4-44D6-9D0C-8CA6E98E8648}" srcOrd="3" destOrd="0" presId="urn:microsoft.com/office/officeart/2005/8/layout/orgChart1"/>
    <dgm:cxn modelId="{6632AB85-08A8-420D-883F-1C32EACA191D}" type="presParOf" srcId="{A75AAB67-F1C4-44D6-9D0C-8CA6E98E8648}" destId="{1A6783DF-CC4F-4692-B147-51BA499675F3}" srcOrd="0" destOrd="0" presId="urn:microsoft.com/office/officeart/2005/8/layout/orgChart1"/>
    <dgm:cxn modelId="{FC083B66-927C-47A8-A84C-FC4CC4CC93BA}" type="presParOf" srcId="{1A6783DF-CC4F-4692-B147-51BA499675F3}" destId="{800441F0-15EA-4510-9C0A-C859D0E0DC57}" srcOrd="0" destOrd="0" presId="urn:microsoft.com/office/officeart/2005/8/layout/orgChart1"/>
    <dgm:cxn modelId="{4ADDF175-F16D-4007-8B86-B8583D29C598}" type="presParOf" srcId="{1A6783DF-CC4F-4692-B147-51BA499675F3}" destId="{5AD1B4A9-A6E5-45DB-A74A-3CB2822BAA61}" srcOrd="1" destOrd="0" presId="urn:microsoft.com/office/officeart/2005/8/layout/orgChart1"/>
    <dgm:cxn modelId="{AAA4FDAB-CEE2-4540-8D1E-5E8B1639037C}" type="presParOf" srcId="{A75AAB67-F1C4-44D6-9D0C-8CA6E98E8648}" destId="{3685F077-BC68-4BAD-B98E-B58B85DA3A9A}" srcOrd="1" destOrd="0" presId="urn:microsoft.com/office/officeart/2005/8/layout/orgChart1"/>
    <dgm:cxn modelId="{1DED2E8A-1CE6-4548-8CEB-C1C6F4B8A8F3}" type="presParOf" srcId="{A75AAB67-F1C4-44D6-9D0C-8CA6E98E8648}" destId="{48CE3E5B-79B0-46CB-AD76-D80E39929F55}" srcOrd="2" destOrd="0" presId="urn:microsoft.com/office/officeart/2005/8/layout/orgChart1"/>
    <dgm:cxn modelId="{7799811F-411E-40D3-9996-DD367DC4E6BB}" type="presParOf" srcId="{9A0CD46D-FBFA-4FF7-9151-898A803DF876}" destId="{8C339D54-4314-4D1D-822A-66EEF26661D9}" srcOrd="4" destOrd="0" presId="urn:microsoft.com/office/officeart/2005/8/layout/orgChart1"/>
    <dgm:cxn modelId="{FD0BC12B-8E41-4A19-91EA-3C5D0CE64039}" type="presParOf" srcId="{9A0CD46D-FBFA-4FF7-9151-898A803DF876}" destId="{0C867175-0C80-4DD2-BB0E-1DFA31941AB8}" srcOrd="5" destOrd="0" presId="urn:microsoft.com/office/officeart/2005/8/layout/orgChart1"/>
    <dgm:cxn modelId="{54E8F4F7-AA53-49F9-B0EF-CC5A08A1F56F}" type="presParOf" srcId="{0C867175-0C80-4DD2-BB0E-1DFA31941AB8}" destId="{2C200A4E-E58D-467B-A01B-62C50B018C1F}" srcOrd="0" destOrd="0" presId="urn:microsoft.com/office/officeart/2005/8/layout/orgChart1"/>
    <dgm:cxn modelId="{C8214316-BAE9-45B1-B742-F8752AC70CB0}" type="presParOf" srcId="{2C200A4E-E58D-467B-A01B-62C50B018C1F}" destId="{45D2D42E-5C66-4BAD-8496-397D5F42DF8E}" srcOrd="0" destOrd="0" presId="urn:microsoft.com/office/officeart/2005/8/layout/orgChart1"/>
    <dgm:cxn modelId="{E7CBD192-8C5E-4558-B015-A61D9AF19463}" type="presParOf" srcId="{2C200A4E-E58D-467B-A01B-62C50B018C1F}" destId="{AFFE53AF-F793-4C38-A614-D119E781AA6D}" srcOrd="1" destOrd="0" presId="urn:microsoft.com/office/officeart/2005/8/layout/orgChart1"/>
    <dgm:cxn modelId="{9D868D23-1D14-48F6-8051-FD7A6D6A7D65}" type="presParOf" srcId="{0C867175-0C80-4DD2-BB0E-1DFA31941AB8}" destId="{9F7A91C0-1F77-43EF-A06A-773402178F37}" srcOrd="1" destOrd="0" presId="urn:microsoft.com/office/officeart/2005/8/layout/orgChart1"/>
    <dgm:cxn modelId="{93DE2A94-2956-451E-937A-BCBB373B1A20}" type="presParOf" srcId="{0C867175-0C80-4DD2-BB0E-1DFA31941AB8}" destId="{7483D9D5-B1C7-4826-99F5-A5E9FB03F8B6}" srcOrd="2" destOrd="0" presId="urn:microsoft.com/office/officeart/2005/8/layout/orgChart1"/>
    <dgm:cxn modelId="{5156065E-AD4E-40F6-AE7B-D82C14B483CC}" type="presParOf" srcId="{CF0FA61E-627A-491E-AD68-644B0BBEFCFE}" destId="{AEEA088F-FB18-4896-8561-911D3F37E71F}" srcOrd="2" destOrd="0" presId="urn:microsoft.com/office/officeart/2005/8/layout/orgChart1"/>
    <dgm:cxn modelId="{5460E380-30CA-4D3A-B9BF-B2B1255384BF}" type="presParOf" srcId="{AEEA088F-FB18-4896-8561-911D3F37E71F}" destId="{A7A612A3-F4A6-407D-BD97-0C5CCCEA14CB}" srcOrd="0" destOrd="0" presId="urn:microsoft.com/office/officeart/2005/8/layout/orgChart1"/>
    <dgm:cxn modelId="{75AFE863-FE66-4943-AF50-95319023E173}" type="presParOf" srcId="{AEEA088F-FB18-4896-8561-911D3F37E71F}" destId="{FF562D7D-51A7-4A3F-BE68-953C507AF385}" srcOrd="1" destOrd="0" presId="urn:microsoft.com/office/officeart/2005/8/layout/orgChart1"/>
    <dgm:cxn modelId="{D98D1A58-6968-4007-B476-2E6CA2BB90B3}" type="presParOf" srcId="{FF562D7D-51A7-4A3F-BE68-953C507AF385}" destId="{28AC6336-89C7-467E-A5C1-C68DA8272312}" srcOrd="0" destOrd="0" presId="urn:microsoft.com/office/officeart/2005/8/layout/orgChart1"/>
    <dgm:cxn modelId="{D28447C2-5345-4285-A850-322048F75735}" type="presParOf" srcId="{28AC6336-89C7-467E-A5C1-C68DA8272312}" destId="{0816F75A-842B-4090-A589-9A67F392C2E2}" srcOrd="0" destOrd="0" presId="urn:microsoft.com/office/officeart/2005/8/layout/orgChart1"/>
    <dgm:cxn modelId="{47427537-69EF-4C00-AC33-2A98CF6C2ED9}" type="presParOf" srcId="{28AC6336-89C7-467E-A5C1-C68DA8272312}" destId="{0128F713-173C-4632-B079-7A4F71F3E08D}" srcOrd="1" destOrd="0" presId="urn:microsoft.com/office/officeart/2005/8/layout/orgChart1"/>
    <dgm:cxn modelId="{32B2C0CD-9BDC-4D67-B9D2-FED76606ABFA}" type="presParOf" srcId="{FF562D7D-51A7-4A3F-BE68-953C507AF385}" destId="{2AEE1136-AF57-4900-A5E1-ED234497F93C}" srcOrd="1" destOrd="0" presId="urn:microsoft.com/office/officeart/2005/8/layout/orgChart1"/>
    <dgm:cxn modelId="{CFD3CEF6-DA7C-434D-994A-90B40714725B}" type="presParOf" srcId="{FF562D7D-51A7-4A3F-BE68-953C507AF385}" destId="{87521D41-DF65-4A0C-906B-3DC287C57BF2}" srcOrd="2" destOrd="0" presId="urn:microsoft.com/office/officeart/2005/8/layout/orgChart1"/>
    <dgm:cxn modelId="{F86203E1-D88E-432A-B204-418813C5091A}" type="presParOf" srcId="{AEEA088F-FB18-4896-8561-911D3F37E71F}" destId="{B496C8C5-2134-4328-BD53-A8392C8B40F6}" srcOrd="2" destOrd="0" presId="urn:microsoft.com/office/officeart/2005/8/layout/orgChart1"/>
    <dgm:cxn modelId="{B46B3C75-34B2-4E10-BFC7-B6464A6E4602}" type="presParOf" srcId="{AEEA088F-FB18-4896-8561-911D3F37E71F}" destId="{DDA4F2AB-2D3D-4988-8472-A555334AB39D}" srcOrd="3" destOrd="0" presId="urn:microsoft.com/office/officeart/2005/8/layout/orgChart1"/>
    <dgm:cxn modelId="{BFFA9C4F-042C-4582-A5AB-AF8DB4D15EA2}" type="presParOf" srcId="{DDA4F2AB-2D3D-4988-8472-A555334AB39D}" destId="{34EFFE05-E01F-4263-86D5-46C5453A887C}" srcOrd="0" destOrd="0" presId="urn:microsoft.com/office/officeart/2005/8/layout/orgChart1"/>
    <dgm:cxn modelId="{51F0C031-E8D8-4740-A8AD-E3C1004D57D0}" type="presParOf" srcId="{34EFFE05-E01F-4263-86D5-46C5453A887C}" destId="{305EA77E-504D-4ADC-B68E-9F852829606E}" srcOrd="0" destOrd="0" presId="urn:microsoft.com/office/officeart/2005/8/layout/orgChart1"/>
    <dgm:cxn modelId="{63D0DB20-CC38-4055-BCCA-A82A1E64C324}" type="presParOf" srcId="{34EFFE05-E01F-4263-86D5-46C5453A887C}" destId="{0875D686-7E77-41D1-AE32-6AC09CC17277}" srcOrd="1" destOrd="0" presId="urn:microsoft.com/office/officeart/2005/8/layout/orgChart1"/>
    <dgm:cxn modelId="{FE07F61D-1031-4B05-93ED-72E6C97C9C5E}" type="presParOf" srcId="{DDA4F2AB-2D3D-4988-8472-A555334AB39D}" destId="{B66C3805-9B85-4D72-A992-E84BAFE330DF}" srcOrd="1" destOrd="0" presId="urn:microsoft.com/office/officeart/2005/8/layout/orgChart1"/>
    <dgm:cxn modelId="{FB0A1012-6322-4ADD-895C-CAB4891B82DD}" type="presParOf" srcId="{DDA4F2AB-2D3D-4988-8472-A555334AB39D}" destId="{9E847692-A835-48C1-A261-FD57FBE21E86}" srcOrd="2" destOrd="0" presId="urn:microsoft.com/office/officeart/2005/8/layout/orgChart1"/>
    <dgm:cxn modelId="{0F2EF56F-65C4-4C6D-AA21-F735EE572946}" type="presParOf" srcId="{AEEA088F-FB18-4896-8561-911D3F37E71F}" destId="{0D49C2B0-CFB9-447D-B133-01DB43168BEC}" srcOrd="4" destOrd="0" presId="urn:microsoft.com/office/officeart/2005/8/layout/orgChart1"/>
    <dgm:cxn modelId="{B6B4BFC8-6C8F-44E8-B8B1-65E3891CD084}" type="presParOf" srcId="{AEEA088F-FB18-4896-8561-911D3F37E71F}" destId="{F3CFC286-F9E2-493A-BFC2-D5BB5AE3BD8C}" srcOrd="5" destOrd="0" presId="urn:microsoft.com/office/officeart/2005/8/layout/orgChart1"/>
    <dgm:cxn modelId="{356048E4-BA75-4FC8-AF5B-1EC64B607B5B}" type="presParOf" srcId="{F3CFC286-F9E2-493A-BFC2-D5BB5AE3BD8C}" destId="{2E2D5EEF-DE07-4655-8F9D-5F5E60F32733}" srcOrd="0" destOrd="0" presId="urn:microsoft.com/office/officeart/2005/8/layout/orgChart1"/>
    <dgm:cxn modelId="{302F341E-8554-4D72-874D-CFEAE7483CF7}" type="presParOf" srcId="{2E2D5EEF-DE07-4655-8F9D-5F5E60F32733}" destId="{483A609A-5BD4-4BD9-9AD0-E5ED07FA77DE}" srcOrd="0" destOrd="0" presId="urn:microsoft.com/office/officeart/2005/8/layout/orgChart1"/>
    <dgm:cxn modelId="{B5F554D7-7DE3-4CD9-9246-142AABA914E6}" type="presParOf" srcId="{2E2D5EEF-DE07-4655-8F9D-5F5E60F32733}" destId="{A239F2F8-08EE-4C4D-9C22-AC9E07C709DA}" srcOrd="1" destOrd="0" presId="urn:microsoft.com/office/officeart/2005/8/layout/orgChart1"/>
    <dgm:cxn modelId="{B19CC17B-6879-4617-9CF2-33BA163102A8}" type="presParOf" srcId="{F3CFC286-F9E2-493A-BFC2-D5BB5AE3BD8C}" destId="{6C970E58-D5B0-46E6-8B32-7535DF072E82}" srcOrd="1" destOrd="0" presId="urn:microsoft.com/office/officeart/2005/8/layout/orgChart1"/>
    <dgm:cxn modelId="{1E76EEDC-F1BF-4660-BBF4-4E0015BCBD7C}" type="presParOf" srcId="{F3CFC286-F9E2-493A-BFC2-D5BB5AE3BD8C}" destId="{C4A9159C-BC71-48F6-82F6-DB768F4B748A}"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E143ED6-E20A-4BEB-948B-82BFCB7ABFD3}"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61553F19-FBB8-40B4-AA72-F4B137DCCE2A}">
      <dgm:prSet phldrT="[Text]"/>
      <dgm:spPr/>
      <dgm:t>
        <a:bodyPr/>
        <a:lstStyle/>
        <a:p>
          <a:r>
            <a:rPr lang="en-US"/>
            <a:t>Past/Future Markets    (Candidate Driven Market)</a:t>
          </a:r>
        </a:p>
      </dgm:t>
    </dgm:pt>
    <dgm:pt modelId="{7CB688E8-A189-4CD9-968E-D73591420C75}" type="parTrans" cxnId="{26BDFA2C-DFEC-421F-B95B-DD6C2F7F49EA}">
      <dgm:prSet/>
      <dgm:spPr/>
      <dgm:t>
        <a:bodyPr/>
        <a:lstStyle/>
        <a:p>
          <a:endParaRPr lang="en-US"/>
        </a:p>
      </dgm:t>
    </dgm:pt>
    <dgm:pt modelId="{57CBFB68-2009-427F-A2ED-4EC306CBE320}" type="sibTrans" cxnId="{26BDFA2C-DFEC-421F-B95B-DD6C2F7F49EA}">
      <dgm:prSet/>
      <dgm:spPr/>
      <dgm:t>
        <a:bodyPr/>
        <a:lstStyle/>
        <a:p>
          <a:endParaRPr lang="en-US"/>
        </a:p>
      </dgm:t>
    </dgm:pt>
    <dgm:pt modelId="{E804B2CA-AF7A-42EE-BAA2-B8268027D8FD}" type="asst">
      <dgm:prSet phldrT="[Text]"/>
      <dgm:spPr/>
      <dgm:t>
        <a:bodyPr/>
        <a:lstStyle/>
        <a:p>
          <a:r>
            <a:rPr lang="en-US"/>
            <a:t>More Open Roles</a:t>
          </a:r>
        </a:p>
      </dgm:t>
    </dgm:pt>
    <dgm:pt modelId="{70C9BFBB-C581-4B21-A582-987B06B10D9E}" type="parTrans" cxnId="{75D6979A-8DBD-4714-ACF1-C9B8C72846D4}">
      <dgm:prSet/>
      <dgm:spPr/>
      <dgm:t>
        <a:bodyPr/>
        <a:lstStyle/>
        <a:p>
          <a:endParaRPr lang="en-US"/>
        </a:p>
      </dgm:t>
    </dgm:pt>
    <dgm:pt modelId="{AF0BD5A1-7EA6-44E3-B76A-9776A002C4CB}" type="sibTrans" cxnId="{75D6979A-8DBD-4714-ACF1-C9B8C72846D4}">
      <dgm:prSet/>
      <dgm:spPr/>
      <dgm:t>
        <a:bodyPr/>
        <a:lstStyle/>
        <a:p>
          <a:endParaRPr lang="en-US"/>
        </a:p>
      </dgm:t>
    </dgm:pt>
    <dgm:pt modelId="{EEB880B9-1F97-45D8-B3B3-A0E0BDA4039D}">
      <dgm:prSet phldrT="[Text]"/>
      <dgm:spPr/>
      <dgm:t>
        <a:bodyPr/>
        <a:lstStyle/>
        <a:p>
          <a:r>
            <a:rPr lang="en-US"/>
            <a:t>Need to increase/alter/update benefits</a:t>
          </a:r>
        </a:p>
      </dgm:t>
    </dgm:pt>
    <dgm:pt modelId="{36427562-5D81-498F-B1B6-2307B40D2E6C}" type="parTrans" cxnId="{5D0EFAB5-DBAF-4331-891E-6DDFB05777BC}">
      <dgm:prSet/>
      <dgm:spPr/>
      <dgm:t>
        <a:bodyPr/>
        <a:lstStyle/>
        <a:p>
          <a:endParaRPr lang="en-US"/>
        </a:p>
      </dgm:t>
    </dgm:pt>
    <dgm:pt modelId="{9C2C5A0C-FCF8-4265-8292-310FC32B19F8}" type="sibTrans" cxnId="{5D0EFAB5-DBAF-4331-891E-6DDFB05777BC}">
      <dgm:prSet/>
      <dgm:spPr/>
      <dgm:t>
        <a:bodyPr/>
        <a:lstStyle/>
        <a:p>
          <a:endParaRPr lang="en-US"/>
        </a:p>
      </dgm:t>
    </dgm:pt>
    <dgm:pt modelId="{1710BE77-3BA2-4650-9F2D-C1321AA53498}">
      <dgm:prSet phldrT="[Text]"/>
      <dgm:spPr/>
      <dgm:t>
        <a:bodyPr/>
        <a:lstStyle/>
        <a:p>
          <a:r>
            <a:rPr lang="en-US"/>
            <a:t>Create very unique branding</a:t>
          </a:r>
        </a:p>
      </dgm:t>
    </dgm:pt>
    <dgm:pt modelId="{610DDCB5-42DF-4F36-AB31-8F22B4CB9BD1}" type="parTrans" cxnId="{DBCA88D2-A1AB-49FC-9EC2-97713A4D60A1}">
      <dgm:prSet/>
      <dgm:spPr/>
      <dgm:t>
        <a:bodyPr/>
        <a:lstStyle/>
        <a:p>
          <a:endParaRPr lang="en-US"/>
        </a:p>
      </dgm:t>
    </dgm:pt>
    <dgm:pt modelId="{E9487550-FB52-403F-B097-7698A9D5CCBA}" type="sibTrans" cxnId="{DBCA88D2-A1AB-49FC-9EC2-97713A4D60A1}">
      <dgm:prSet/>
      <dgm:spPr/>
      <dgm:t>
        <a:bodyPr/>
        <a:lstStyle/>
        <a:p>
          <a:endParaRPr lang="en-US"/>
        </a:p>
      </dgm:t>
    </dgm:pt>
    <dgm:pt modelId="{D8C5C6BA-9123-4284-ABE8-60D9A50A5A6C}">
      <dgm:prSet phldrT="[Text]"/>
      <dgm:spPr/>
      <dgm:t>
        <a:bodyPr/>
        <a:lstStyle/>
        <a:p>
          <a:r>
            <a:rPr lang="en-US"/>
            <a:t>More speed/efficiencies </a:t>
          </a:r>
        </a:p>
      </dgm:t>
    </dgm:pt>
    <dgm:pt modelId="{60C8776C-116F-4FFE-A099-F0A58EEB9A0F}" type="parTrans" cxnId="{29F382EA-2E78-4349-98A7-74442FA52B66}">
      <dgm:prSet/>
      <dgm:spPr/>
      <dgm:t>
        <a:bodyPr/>
        <a:lstStyle/>
        <a:p>
          <a:endParaRPr lang="en-US"/>
        </a:p>
      </dgm:t>
    </dgm:pt>
    <dgm:pt modelId="{C824346B-234F-4271-B6A0-4E605D64AA95}" type="sibTrans" cxnId="{29F382EA-2E78-4349-98A7-74442FA52B66}">
      <dgm:prSet/>
      <dgm:spPr/>
      <dgm:t>
        <a:bodyPr/>
        <a:lstStyle/>
        <a:p>
          <a:endParaRPr lang="en-US"/>
        </a:p>
      </dgm:t>
    </dgm:pt>
    <dgm:pt modelId="{235BC411-CABC-4A40-A476-EE7EC04FEE1D}" type="asst">
      <dgm:prSet phldrT="[Text]"/>
      <dgm:spPr/>
      <dgm:t>
        <a:bodyPr/>
        <a:lstStyle/>
        <a:p>
          <a:r>
            <a:rPr lang="en-US"/>
            <a:t>Less available candidates</a:t>
          </a:r>
        </a:p>
      </dgm:t>
    </dgm:pt>
    <dgm:pt modelId="{863E5CF3-ED99-4AF0-985C-B01EBF937770}" type="parTrans" cxnId="{03B26340-56F2-4D26-8286-02F742E141D4}">
      <dgm:prSet/>
      <dgm:spPr/>
      <dgm:t>
        <a:bodyPr/>
        <a:lstStyle/>
        <a:p>
          <a:endParaRPr lang="en-US"/>
        </a:p>
      </dgm:t>
    </dgm:pt>
    <dgm:pt modelId="{2C4A0F77-650D-4877-B6CB-988E7C857FDF}" type="sibTrans" cxnId="{03B26340-56F2-4D26-8286-02F742E141D4}">
      <dgm:prSet/>
      <dgm:spPr/>
      <dgm:t>
        <a:bodyPr/>
        <a:lstStyle/>
        <a:p>
          <a:endParaRPr lang="en-US"/>
        </a:p>
      </dgm:t>
    </dgm:pt>
    <dgm:pt modelId="{DB29E020-3A85-4B24-A4B7-3C37D6A079CF}" type="asst">
      <dgm:prSet phldrT="[Text]"/>
      <dgm:spPr/>
      <dgm:t>
        <a:bodyPr/>
        <a:lstStyle/>
        <a:p>
          <a:r>
            <a:rPr lang="en-US"/>
            <a:t>Financial resources</a:t>
          </a:r>
        </a:p>
      </dgm:t>
    </dgm:pt>
    <dgm:pt modelId="{15A13000-D4CF-4165-8A56-234C0DDC154D}" type="parTrans" cxnId="{EDD2DAD6-4A48-418C-89F9-910CDDEC6DC9}">
      <dgm:prSet/>
      <dgm:spPr/>
      <dgm:t>
        <a:bodyPr/>
        <a:lstStyle/>
        <a:p>
          <a:endParaRPr lang="en-US"/>
        </a:p>
      </dgm:t>
    </dgm:pt>
    <dgm:pt modelId="{EBE184AD-BA56-4B9B-BB7F-68BE328FBA47}" type="sibTrans" cxnId="{EDD2DAD6-4A48-418C-89F9-910CDDEC6DC9}">
      <dgm:prSet/>
      <dgm:spPr/>
      <dgm:t>
        <a:bodyPr/>
        <a:lstStyle/>
        <a:p>
          <a:endParaRPr lang="en-US"/>
        </a:p>
      </dgm:t>
    </dgm:pt>
    <dgm:pt modelId="{48EB2A5D-D6EF-4077-A820-2850106904A4}" type="pres">
      <dgm:prSet presAssocID="{DE143ED6-E20A-4BEB-948B-82BFCB7ABFD3}" presName="hierChild1" presStyleCnt="0">
        <dgm:presLayoutVars>
          <dgm:orgChart val="1"/>
          <dgm:chPref val="1"/>
          <dgm:dir/>
          <dgm:animOne val="branch"/>
          <dgm:animLvl val="lvl"/>
          <dgm:resizeHandles/>
        </dgm:presLayoutVars>
      </dgm:prSet>
      <dgm:spPr/>
    </dgm:pt>
    <dgm:pt modelId="{9E8FA5D6-F7CA-4B4B-9396-2340EAB737BB}" type="pres">
      <dgm:prSet presAssocID="{61553F19-FBB8-40B4-AA72-F4B137DCCE2A}" presName="hierRoot1" presStyleCnt="0">
        <dgm:presLayoutVars>
          <dgm:hierBranch val="init"/>
        </dgm:presLayoutVars>
      </dgm:prSet>
      <dgm:spPr/>
    </dgm:pt>
    <dgm:pt modelId="{AD2CC648-1FE7-400D-A98D-D989B65620EC}" type="pres">
      <dgm:prSet presAssocID="{61553F19-FBB8-40B4-AA72-F4B137DCCE2A}" presName="rootComposite1" presStyleCnt="0"/>
      <dgm:spPr/>
    </dgm:pt>
    <dgm:pt modelId="{635962DA-794B-4D24-BB85-53A5DB046D24}" type="pres">
      <dgm:prSet presAssocID="{61553F19-FBB8-40B4-AA72-F4B137DCCE2A}" presName="rootText1" presStyleLbl="node0" presStyleIdx="0" presStyleCnt="1">
        <dgm:presLayoutVars>
          <dgm:chPref val="3"/>
        </dgm:presLayoutVars>
      </dgm:prSet>
      <dgm:spPr/>
    </dgm:pt>
    <dgm:pt modelId="{5FD35934-4082-46FB-80A4-5660804AFF76}" type="pres">
      <dgm:prSet presAssocID="{61553F19-FBB8-40B4-AA72-F4B137DCCE2A}" presName="rootConnector1" presStyleLbl="node1" presStyleIdx="0" presStyleCnt="0"/>
      <dgm:spPr/>
    </dgm:pt>
    <dgm:pt modelId="{A04621CA-99B0-4EC3-9E43-88628D53F30C}" type="pres">
      <dgm:prSet presAssocID="{61553F19-FBB8-40B4-AA72-F4B137DCCE2A}" presName="hierChild2" presStyleCnt="0"/>
      <dgm:spPr/>
    </dgm:pt>
    <dgm:pt modelId="{8BF40CDB-441E-4A87-A00A-12355106FFB8}" type="pres">
      <dgm:prSet presAssocID="{36427562-5D81-498F-B1B6-2307B40D2E6C}" presName="Name37" presStyleLbl="parChTrans1D2" presStyleIdx="0" presStyleCnt="6"/>
      <dgm:spPr/>
    </dgm:pt>
    <dgm:pt modelId="{8F297C90-4CAA-4C91-8348-BFF16FB217D3}" type="pres">
      <dgm:prSet presAssocID="{EEB880B9-1F97-45D8-B3B3-A0E0BDA4039D}" presName="hierRoot2" presStyleCnt="0">
        <dgm:presLayoutVars>
          <dgm:hierBranch val="init"/>
        </dgm:presLayoutVars>
      </dgm:prSet>
      <dgm:spPr/>
    </dgm:pt>
    <dgm:pt modelId="{22A47160-CDE3-4185-8843-AD6CD779AA60}" type="pres">
      <dgm:prSet presAssocID="{EEB880B9-1F97-45D8-B3B3-A0E0BDA4039D}" presName="rootComposite" presStyleCnt="0"/>
      <dgm:spPr/>
    </dgm:pt>
    <dgm:pt modelId="{92A02CDF-35F5-4C04-A112-DF619040EF8C}" type="pres">
      <dgm:prSet presAssocID="{EEB880B9-1F97-45D8-B3B3-A0E0BDA4039D}" presName="rootText" presStyleLbl="node2" presStyleIdx="0" presStyleCnt="3">
        <dgm:presLayoutVars>
          <dgm:chPref val="3"/>
        </dgm:presLayoutVars>
      </dgm:prSet>
      <dgm:spPr/>
    </dgm:pt>
    <dgm:pt modelId="{06D49543-8500-4983-A0C3-5F555209C4F0}" type="pres">
      <dgm:prSet presAssocID="{EEB880B9-1F97-45D8-B3B3-A0E0BDA4039D}" presName="rootConnector" presStyleLbl="node2" presStyleIdx="0" presStyleCnt="3"/>
      <dgm:spPr/>
    </dgm:pt>
    <dgm:pt modelId="{22B21DC7-9546-4477-AAAA-D4D06BA964AC}" type="pres">
      <dgm:prSet presAssocID="{EEB880B9-1F97-45D8-B3B3-A0E0BDA4039D}" presName="hierChild4" presStyleCnt="0"/>
      <dgm:spPr/>
    </dgm:pt>
    <dgm:pt modelId="{7A53E327-C6F4-49FE-996E-3B99F0E78319}" type="pres">
      <dgm:prSet presAssocID="{EEB880B9-1F97-45D8-B3B3-A0E0BDA4039D}" presName="hierChild5" presStyleCnt="0"/>
      <dgm:spPr/>
    </dgm:pt>
    <dgm:pt modelId="{F3A4187E-604E-4CAD-A67E-5AAC67D29FCA}" type="pres">
      <dgm:prSet presAssocID="{610DDCB5-42DF-4F36-AB31-8F22B4CB9BD1}" presName="Name37" presStyleLbl="parChTrans1D2" presStyleIdx="1" presStyleCnt="6"/>
      <dgm:spPr/>
    </dgm:pt>
    <dgm:pt modelId="{64C67D71-F83E-4F8F-9AC6-CD028CC1E72B}" type="pres">
      <dgm:prSet presAssocID="{1710BE77-3BA2-4650-9F2D-C1321AA53498}" presName="hierRoot2" presStyleCnt="0">
        <dgm:presLayoutVars>
          <dgm:hierBranch val="init"/>
        </dgm:presLayoutVars>
      </dgm:prSet>
      <dgm:spPr/>
    </dgm:pt>
    <dgm:pt modelId="{E6DF2C5D-37BE-4B01-A42B-C9C31FECF3BB}" type="pres">
      <dgm:prSet presAssocID="{1710BE77-3BA2-4650-9F2D-C1321AA53498}" presName="rootComposite" presStyleCnt="0"/>
      <dgm:spPr/>
    </dgm:pt>
    <dgm:pt modelId="{54987164-9362-4846-BA6E-A2F5CFCB12FB}" type="pres">
      <dgm:prSet presAssocID="{1710BE77-3BA2-4650-9F2D-C1321AA53498}" presName="rootText" presStyleLbl="node2" presStyleIdx="1" presStyleCnt="3">
        <dgm:presLayoutVars>
          <dgm:chPref val="3"/>
        </dgm:presLayoutVars>
      </dgm:prSet>
      <dgm:spPr/>
    </dgm:pt>
    <dgm:pt modelId="{1C528CC9-40A9-4500-9033-E893DB507E71}" type="pres">
      <dgm:prSet presAssocID="{1710BE77-3BA2-4650-9F2D-C1321AA53498}" presName="rootConnector" presStyleLbl="node2" presStyleIdx="1" presStyleCnt="3"/>
      <dgm:spPr/>
    </dgm:pt>
    <dgm:pt modelId="{FC5D8313-C252-4417-B5C7-3326B0B75EE6}" type="pres">
      <dgm:prSet presAssocID="{1710BE77-3BA2-4650-9F2D-C1321AA53498}" presName="hierChild4" presStyleCnt="0"/>
      <dgm:spPr/>
    </dgm:pt>
    <dgm:pt modelId="{52BE1E61-7CC0-40A0-A6ED-F21EECEDF675}" type="pres">
      <dgm:prSet presAssocID="{1710BE77-3BA2-4650-9F2D-C1321AA53498}" presName="hierChild5" presStyleCnt="0"/>
      <dgm:spPr/>
    </dgm:pt>
    <dgm:pt modelId="{6543FA76-DBE3-4ADE-A57C-B58953F9BAF2}" type="pres">
      <dgm:prSet presAssocID="{60C8776C-116F-4FFE-A099-F0A58EEB9A0F}" presName="Name37" presStyleLbl="parChTrans1D2" presStyleIdx="2" presStyleCnt="6"/>
      <dgm:spPr/>
    </dgm:pt>
    <dgm:pt modelId="{282A6AB3-B326-441B-B32F-10F9CAA55778}" type="pres">
      <dgm:prSet presAssocID="{D8C5C6BA-9123-4284-ABE8-60D9A50A5A6C}" presName="hierRoot2" presStyleCnt="0">
        <dgm:presLayoutVars>
          <dgm:hierBranch val="init"/>
        </dgm:presLayoutVars>
      </dgm:prSet>
      <dgm:spPr/>
    </dgm:pt>
    <dgm:pt modelId="{4469739F-9FBA-462F-83C0-0A731FC3D470}" type="pres">
      <dgm:prSet presAssocID="{D8C5C6BA-9123-4284-ABE8-60D9A50A5A6C}" presName="rootComposite" presStyleCnt="0"/>
      <dgm:spPr/>
    </dgm:pt>
    <dgm:pt modelId="{F5D29AB3-48A8-4AC9-A5D8-D91B6065FA17}" type="pres">
      <dgm:prSet presAssocID="{D8C5C6BA-9123-4284-ABE8-60D9A50A5A6C}" presName="rootText" presStyleLbl="node2" presStyleIdx="2" presStyleCnt="3">
        <dgm:presLayoutVars>
          <dgm:chPref val="3"/>
        </dgm:presLayoutVars>
      </dgm:prSet>
      <dgm:spPr/>
    </dgm:pt>
    <dgm:pt modelId="{EE602908-5EC5-4B9C-A24F-40B3460175CB}" type="pres">
      <dgm:prSet presAssocID="{D8C5C6BA-9123-4284-ABE8-60D9A50A5A6C}" presName="rootConnector" presStyleLbl="node2" presStyleIdx="2" presStyleCnt="3"/>
      <dgm:spPr/>
    </dgm:pt>
    <dgm:pt modelId="{5798B50C-9497-424A-BB41-703E5A3146DF}" type="pres">
      <dgm:prSet presAssocID="{D8C5C6BA-9123-4284-ABE8-60D9A50A5A6C}" presName="hierChild4" presStyleCnt="0"/>
      <dgm:spPr/>
    </dgm:pt>
    <dgm:pt modelId="{5E5F7CFE-EF4E-4796-B6E5-BB84DA61A2CD}" type="pres">
      <dgm:prSet presAssocID="{D8C5C6BA-9123-4284-ABE8-60D9A50A5A6C}" presName="hierChild5" presStyleCnt="0"/>
      <dgm:spPr/>
    </dgm:pt>
    <dgm:pt modelId="{0C44AA8E-DC32-4AD1-A5E2-E81C29F6BF46}" type="pres">
      <dgm:prSet presAssocID="{61553F19-FBB8-40B4-AA72-F4B137DCCE2A}" presName="hierChild3" presStyleCnt="0"/>
      <dgm:spPr/>
    </dgm:pt>
    <dgm:pt modelId="{6A6D02DE-F425-4B8A-A935-DE8A3EC39044}" type="pres">
      <dgm:prSet presAssocID="{70C9BFBB-C581-4B21-A582-987B06B10D9E}" presName="Name111" presStyleLbl="parChTrans1D2" presStyleIdx="3" presStyleCnt="6"/>
      <dgm:spPr/>
    </dgm:pt>
    <dgm:pt modelId="{AD92E45B-A8A5-4447-93B9-9AC53F5359D6}" type="pres">
      <dgm:prSet presAssocID="{E804B2CA-AF7A-42EE-BAA2-B8268027D8FD}" presName="hierRoot3" presStyleCnt="0">
        <dgm:presLayoutVars>
          <dgm:hierBranch val="init"/>
        </dgm:presLayoutVars>
      </dgm:prSet>
      <dgm:spPr/>
    </dgm:pt>
    <dgm:pt modelId="{1B7EEFD1-1105-4BA3-ADFF-CEDB275AB998}" type="pres">
      <dgm:prSet presAssocID="{E804B2CA-AF7A-42EE-BAA2-B8268027D8FD}" presName="rootComposite3" presStyleCnt="0"/>
      <dgm:spPr/>
    </dgm:pt>
    <dgm:pt modelId="{C9CB263D-A94D-42F4-B70A-ACCAADD236C1}" type="pres">
      <dgm:prSet presAssocID="{E804B2CA-AF7A-42EE-BAA2-B8268027D8FD}" presName="rootText3" presStyleLbl="asst1" presStyleIdx="0" presStyleCnt="3">
        <dgm:presLayoutVars>
          <dgm:chPref val="3"/>
        </dgm:presLayoutVars>
      </dgm:prSet>
      <dgm:spPr/>
    </dgm:pt>
    <dgm:pt modelId="{7EE2FE0F-A589-4555-89F3-E4D1927D1DCC}" type="pres">
      <dgm:prSet presAssocID="{E804B2CA-AF7A-42EE-BAA2-B8268027D8FD}" presName="rootConnector3" presStyleLbl="asst1" presStyleIdx="0" presStyleCnt="3"/>
      <dgm:spPr/>
    </dgm:pt>
    <dgm:pt modelId="{B1394B75-AA67-4569-9B4D-FAAC1236F8FE}" type="pres">
      <dgm:prSet presAssocID="{E804B2CA-AF7A-42EE-BAA2-B8268027D8FD}" presName="hierChild6" presStyleCnt="0"/>
      <dgm:spPr/>
    </dgm:pt>
    <dgm:pt modelId="{CA4448FD-E7C8-4343-A7A2-227BBF2ACE94}" type="pres">
      <dgm:prSet presAssocID="{E804B2CA-AF7A-42EE-BAA2-B8268027D8FD}" presName="hierChild7" presStyleCnt="0"/>
      <dgm:spPr/>
    </dgm:pt>
    <dgm:pt modelId="{23981C03-2307-4037-8A0D-85ED99635809}" type="pres">
      <dgm:prSet presAssocID="{863E5CF3-ED99-4AF0-985C-B01EBF937770}" presName="Name111" presStyleLbl="parChTrans1D2" presStyleIdx="4" presStyleCnt="6"/>
      <dgm:spPr/>
    </dgm:pt>
    <dgm:pt modelId="{9F09CF16-E6C8-427D-8AF2-7349F90B6C4A}" type="pres">
      <dgm:prSet presAssocID="{235BC411-CABC-4A40-A476-EE7EC04FEE1D}" presName="hierRoot3" presStyleCnt="0">
        <dgm:presLayoutVars>
          <dgm:hierBranch val="init"/>
        </dgm:presLayoutVars>
      </dgm:prSet>
      <dgm:spPr/>
    </dgm:pt>
    <dgm:pt modelId="{610F3780-F903-4968-A619-8F440C9FE1E6}" type="pres">
      <dgm:prSet presAssocID="{235BC411-CABC-4A40-A476-EE7EC04FEE1D}" presName="rootComposite3" presStyleCnt="0"/>
      <dgm:spPr/>
    </dgm:pt>
    <dgm:pt modelId="{7FA91E8F-1A41-4015-8380-AB84E0E9E0FA}" type="pres">
      <dgm:prSet presAssocID="{235BC411-CABC-4A40-A476-EE7EC04FEE1D}" presName="rootText3" presStyleLbl="asst1" presStyleIdx="1" presStyleCnt="3">
        <dgm:presLayoutVars>
          <dgm:chPref val="3"/>
        </dgm:presLayoutVars>
      </dgm:prSet>
      <dgm:spPr/>
    </dgm:pt>
    <dgm:pt modelId="{640276DF-6B13-491C-A71B-6917823DBA80}" type="pres">
      <dgm:prSet presAssocID="{235BC411-CABC-4A40-A476-EE7EC04FEE1D}" presName="rootConnector3" presStyleLbl="asst1" presStyleIdx="1" presStyleCnt="3"/>
      <dgm:spPr/>
    </dgm:pt>
    <dgm:pt modelId="{5D40BD5A-9D9B-4875-ADD7-ABA180BB0064}" type="pres">
      <dgm:prSet presAssocID="{235BC411-CABC-4A40-A476-EE7EC04FEE1D}" presName="hierChild6" presStyleCnt="0"/>
      <dgm:spPr/>
    </dgm:pt>
    <dgm:pt modelId="{4D360F4B-805C-47CE-8358-A63D70429AD6}" type="pres">
      <dgm:prSet presAssocID="{235BC411-CABC-4A40-A476-EE7EC04FEE1D}" presName="hierChild7" presStyleCnt="0"/>
      <dgm:spPr/>
    </dgm:pt>
    <dgm:pt modelId="{1CF89754-CC22-4134-8087-3F7593D28B8B}" type="pres">
      <dgm:prSet presAssocID="{15A13000-D4CF-4165-8A56-234C0DDC154D}" presName="Name111" presStyleLbl="parChTrans1D2" presStyleIdx="5" presStyleCnt="6"/>
      <dgm:spPr/>
    </dgm:pt>
    <dgm:pt modelId="{89BAB65F-70E8-4181-AA9E-46E48277DB90}" type="pres">
      <dgm:prSet presAssocID="{DB29E020-3A85-4B24-A4B7-3C37D6A079CF}" presName="hierRoot3" presStyleCnt="0">
        <dgm:presLayoutVars>
          <dgm:hierBranch val="init"/>
        </dgm:presLayoutVars>
      </dgm:prSet>
      <dgm:spPr/>
    </dgm:pt>
    <dgm:pt modelId="{5BB09966-F2D5-4E69-B44F-34724F0B34AF}" type="pres">
      <dgm:prSet presAssocID="{DB29E020-3A85-4B24-A4B7-3C37D6A079CF}" presName="rootComposite3" presStyleCnt="0"/>
      <dgm:spPr/>
    </dgm:pt>
    <dgm:pt modelId="{F9BD0ED3-E91C-45AD-BAB6-EDC670CA1853}" type="pres">
      <dgm:prSet presAssocID="{DB29E020-3A85-4B24-A4B7-3C37D6A079CF}" presName="rootText3" presStyleLbl="asst1" presStyleIdx="2" presStyleCnt="3">
        <dgm:presLayoutVars>
          <dgm:chPref val="3"/>
        </dgm:presLayoutVars>
      </dgm:prSet>
      <dgm:spPr/>
    </dgm:pt>
    <dgm:pt modelId="{3C61F406-DA02-4BC8-9CDB-E4ED7931D21F}" type="pres">
      <dgm:prSet presAssocID="{DB29E020-3A85-4B24-A4B7-3C37D6A079CF}" presName="rootConnector3" presStyleLbl="asst1" presStyleIdx="2" presStyleCnt="3"/>
      <dgm:spPr/>
    </dgm:pt>
    <dgm:pt modelId="{1FBE74E7-8BDA-40CE-9118-F40A58CF47C0}" type="pres">
      <dgm:prSet presAssocID="{DB29E020-3A85-4B24-A4B7-3C37D6A079CF}" presName="hierChild6" presStyleCnt="0"/>
      <dgm:spPr/>
    </dgm:pt>
    <dgm:pt modelId="{FE369E4F-B411-4F3B-B3C9-367289B482D3}" type="pres">
      <dgm:prSet presAssocID="{DB29E020-3A85-4B24-A4B7-3C37D6A079CF}" presName="hierChild7" presStyleCnt="0"/>
      <dgm:spPr/>
    </dgm:pt>
  </dgm:ptLst>
  <dgm:cxnLst>
    <dgm:cxn modelId="{6C08A921-2984-47BB-975C-58BC50BCE717}" type="presOf" srcId="{610DDCB5-42DF-4F36-AB31-8F22B4CB9BD1}" destId="{F3A4187E-604E-4CAD-A67E-5AAC67D29FCA}" srcOrd="0" destOrd="0" presId="urn:microsoft.com/office/officeart/2005/8/layout/orgChart1"/>
    <dgm:cxn modelId="{378D3924-0CC5-49A8-8860-C4E0C1D95052}" type="presOf" srcId="{DE143ED6-E20A-4BEB-948B-82BFCB7ABFD3}" destId="{48EB2A5D-D6EF-4077-A820-2850106904A4}" srcOrd="0" destOrd="0" presId="urn:microsoft.com/office/officeart/2005/8/layout/orgChart1"/>
    <dgm:cxn modelId="{26BDFA2C-DFEC-421F-B95B-DD6C2F7F49EA}" srcId="{DE143ED6-E20A-4BEB-948B-82BFCB7ABFD3}" destId="{61553F19-FBB8-40B4-AA72-F4B137DCCE2A}" srcOrd="0" destOrd="0" parTransId="{7CB688E8-A189-4CD9-968E-D73591420C75}" sibTransId="{57CBFB68-2009-427F-A2ED-4EC306CBE320}"/>
    <dgm:cxn modelId="{26D0722D-833A-459E-9990-E5B1EB13F11C}" type="presOf" srcId="{61553F19-FBB8-40B4-AA72-F4B137DCCE2A}" destId="{635962DA-794B-4D24-BB85-53A5DB046D24}" srcOrd="0" destOrd="0" presId="urn:microsoft.com/office/officeart/2005/8/layout/orgChart1"/>
    <dgm:cxn modelId="{F73E6A38-96B3-4563-91F9-316347C19E50}" type="presOf" srcId="{DB29E020-3A85-4B24-A4B7-3C37D6A079CF}" destId="{F9BD0ED3-E91C-45AD-BAB6-EDC670CA1853}" srcOrd="0" destOrd="0" presId="urn:microsoft.com/office/officeart/2005/8/layout/orgChart1"/>
    <dgm:cxn modelId="{F214EE3C-26DD-40D4-BB17-530269CB7F57}" type="presOf" srcId="{E804B2CA-AF7A-42EE-BAA2-B8268027D8FD}" destId="{7EE2FE0F-A589-4555-89F3-E4D1927D1DCC}" srcOrd="1" destOrd="0" presId="urn:microsoft.com/office/officeart/2005/8/layout/orgChart1"/>
    <dgm:cxn modelId="{03B26340-56F2-4D26-8286-02F742E141D4}" srcId="{61553F19-FBB8-40B4-AA72-F4B137DCCE2A}" destId="{235BC411-CABC-4A40-A476-EE7EC04FEE1D}" srcOrd="1" destOrd="0" parTransId="{863E5CF3-ED99-4AF0-985C-B01EBF937770}" sibTransId="{2C4A0F77-650D-4877-B6CB-988E7C857FDF}"/>
    <dgm:cxn modelId="{9DC6AB65-0D6F-4CBF-8E1B-E2B59204E6DD}" type="presOf" srcId="{36427562-5D81-498F-B1B6-2307B40D2E6C}" destId="{8BF40CDB-441E-4A87-A00A-12355106FFB8}" srcOrd="0" destOrd="0" presId="urn:microsoft.com/office/officeart/2005/8/layout/orgChart1"/>
    <dgm:cxn modelId="{76D13C47-815A-485E-8C23-5F2E8E11D249}" type="presOf" srcId="{235BC411-CABC-4A40-A476-EE7EC04FEE1D}" destId="{7FA91E8F-1A41-4015-8380-AB84E0E9E0FA}" srcOrd="0" destOrd="0" presId="urn:microsoft.com/office/officeart/2005/8/layout/orgChart1"/>
    <dgm:cxn modelId="{66AE118B-8DFF-48F8-A2B2-3EE67F3D51EF}" type="presOf" srcId="{1710BE77-3BA2-4650-9F2D-C1321AA53498}" destId="{1C528CC9-40A9-4500-9033-E893DB507E71}" srcOrd="1" destOrd="0" presId="urn:microsoft.com/office/officeart/2005/8/layout/orgChart1"/>
    <dgm:cxn modelId="{75D6979A-8DBD-4714-ACF1-C9B8C72846D4}" srcId="{61553F19-FBB8-40B4-AA72-F4B137DCCE2A}" destId="{E804B2CA-AF7A-42EE-BAA2-B8268027D8FD}" srcOrd="0" destOrd="0" parTransId="{70C9BFBB-C581-4B21-A582-987B06B10D9E}" sibTransId="{AF0BD5A1-7EA6-44E3-B76A-9776A002C4CB}"/>
    <dgm:cxn modelId="{3A3E3A9B-A2C0-4FEC-8BB4-4F902341542E}" type="presOf" srcId="{235BC411-CABC-4A40-A476-EE7EC04FEE1D}" destId="{640276DF-6B13-491C-A71B-6917823DBA80}" srcOrd="1" destOrd="0" presId="urn:microsoft.com/office/officeart/2005/8/layout/orgChart1"/>
    <dgm:cxn modelId="{2BAD4A9B-59EC-4AF6-B4FA-B7DF16CB06C7}" type="presOf" srcId="{15A13000-D4CF-4165-8A56-234C0DDC154D}" destId="{1CF89754-CC22-4134-8087-3F7593D28B8B}" srcOrd="0" destOrd="0" presId="urn:microsoft.com/office/officeart/2005/8/layout/orgChart1"/>
    <dgm:cxn modelId="{C937969E-ED70-4BBB-8117-6EBA660862C2}" type="presOf" srcId="{D8C5C6BA-9123-4284-ABE8-60D9A50A5A6C}" destId="{F5D29AB3-48A8-4AC9-A5D8-D91B6065FA17}" srcOrd="0" destOrd="0" presId="urn:microsoft.com/office/officeart/2005/8/layout/orgChart1"/>
    <dgm:cxn modelId="{5BDEDFAC-443B-4553-B6C7-769992252F3D}" type="presOf" srcId="{E804B2CA-AF7A-42EE-BAA2-B8268027D8FD}" destId="{C9CB263D-A94D-42F4-B70A-ACCAADD236C1}" srcOrd="0" destOrd="0" presId="urn:microsoft.com/office/officeart/2005/8/layout/orgChart1"/>
    <dgm:cxn modelId="{5D0EFAB5-DBAF-4331-891E-6DDFB05777BC}" srcId="{61553F19-FBB8-40B4-AA72-F4B137DCCE2A}" destId="{EEB880B9-1F97-45D8-B3B3-A0E0BDA4039D}" srcOrd="3" destOrd="0" parTransId="{36427562-5D81-498F-B1B6-2307B40D2E6C}" sibTransId="{9C2C5A0C-FCF8-4265-8292-310FC32B19F8}"/>
    <dgm:cxn modelId="{7099BAB9-F9A4-407D-89CB-3C7BD716F1F2}" type="presOf" srcId="{DB29E020-3A85-4B24-A4B7-3C37D6A079CF}" destId="{3C61F406-DA02-4BC8-9CDB-E4ED7931D21F}" srcOrd="1" destOrd="0" presId="urn:microsoft.com/office/officeart/2005/8/layout/orgChart1"/>
    <dgm:cxn modelId="{3B783EBB-934B-4721-9CC9-A315ED9AE70D}" type="presOf" srcId="{1710BE77-3BA2-4650-9F2D-C1321AA53498}" destId="{54987164-9362-4846-BA6E-A2F5CFCB12FB}" srcOrd="0" destOrd="0" presId="urn:microsoft.com/office/officeart/2005/8/layout/orgChart1"/>
    <dgm:cxn modelId="{A8FA79C1-F7E2-45AE-93DF-AA262FF75B98}" type="presOf" srcId="{EEB880B9-1F97-45D8-B3B3-A0E0BDA4039D}" destId="{92A02CDF-35F5-4C04-A112-DF619040EF8C}" srcOrd="0" destOrd="0" presId="urn:microsoft.com/office/officeart/2005/8/layout/orgChart1"/>
    <dgm:cxn modelId="{855CBDC9-1A2A-444F-93AD-618D77DFD0C0}" type="presOf" srcId="{61553F19-FBB8-40B4-AA72-F4B137DCCE2A}" destId="{5FD35934-4082-46FB-80A4-5660804AFF76}" srcOrd="1" destOrd="0" presId="urn:microsoft.com/office/officeart/2005/8/layout/orgChart1"/>
    <dgm:cxn modelId="{16B3F7CC-BCE2-45D8-B77A-D919C0A85AEB}" type="presOf" srcId="{60C8776C-116F-4FFE-A099-F0A58EEB9A0F}" destId="{6543FA76-DBE3-4ADE-A57C-B58953F9BAF2}" srcOrd="0" destOrd="0" presId="urn:microsoft.com/office/officeart/2005/8/layout/orgChart1"/>
    <dgm:cxn modelId="{DBCA88D2-A1AB-49FC-9EC2-97713A4D60A1}" srcId="{61553F19-FBB8-40B4-AA72-F4B137DCCE2A}" destId="{1710BE77-3BA2-4650-9F2D-C1321AA53498}" srcOrd="4" destOrd="0" parTransId="{610DDCB5-42DF-4F36-AB31-8F22B4CB9BD1}" sibTransId="{E9487550-FB52-403F-B097-7698A9D5CCBA}"/>
    <dgm:cxn modelId="{EDD2DAD6-4A48-418C-89F9-910CDDEC6DC9}" srcId="{61553F19-FBB8-40B4-AA72-F4B137DCCE2A}" destId="{DB29E020-3A85-4B24-A4B7-3C37D6A079CF}" srcOrd="2" destOrd="0" parTransId="{15A13000-D4CF-4165-8A56-234C0DDC154D}" sibTransId="{EBE184AD-BA56-4B9B-BB7F-68BE328FBA47}"/>
    <dgm:cxn modelId="{7EDE7ADB-49BA-4C7F-A424-A1B089CAAEDF}" type="presOf" srcId="{EEB880B9-1F97-45D8-B3B3-A0E0BDA4039D}" destId="{06D49543-8500-4983-A0C3-5F555209C4F0}" srcOrd="1" destOrd="0" presId="urn:microsoft.com/office/officeart/2005/8/layout/orgChart1"/>
    <dgm:cxn modelId="{9EF6EFDB-E0BB-4DFF-9260-DA24D7944F1E}" type="presOf" srcId="{D8C5C6BA-9123-4284-ABE8-60D9A50A5A6C}" destId="{EE602908-5EC5-4B9C-A24F-40B3460175CB}" srcOrd="1" destOrd="0" presId="urn:microsoft.com/office/officeart/2005/8/layout/orgChart1"/>
    <dgm:cxn modelId="{A55D5EE9-52E1-49E0-BD0E-39A65AF2189D}" type="presOf" srcId="{863E5CF3-ED99-4AF0-985C-B01EBF937770}" destId="{23981C03-2307-4037-8A0D-85ED99635809}" srcOrd="0" destOrd="0" presId="urn:microsoft.com/office/officeart/2005/8/layout/orgChart1"/>
    <dgm:cxn modelId="{29F382EA-2E78-4349-98A7-74442FA52B66}" srcId="{61553F19-FBB8-40B4-AA72-F4B137DCCE2A}" destId="{D8C5C6BA-9123-4284-ABE8-60D9A50A5A6C}" srcOrd="5" destOrd="0" parTransId="{60C8776C-116F-4FFE-A099-F0A58EEB9A0F}" sibTransId="{C824346B-234F-4271-B6A0-4E605D64AA95}"/>
    <dgm:cxn modelId="{90D16CF7-DC1E-4830-BBDA-84DC05883611}" type="presOf" srcId="{70C9BFBB-C581-4B21-A582-987B06B10D9E}" destId="{6A6D02DE-F425-4B8A-A935-DE8A3EC39044}" srcOrd="0" destOrd="0" presId="urn:microsoft.com/office/officeart/2005/8/layout/orgChart1"/>
    <dgm:cxn modelId="{DC52EFAE-E6D5-487B-97B3-9ED083C82021}" type="presParOf" srcId="{48EB2A5D-D6EF-4077-A820-2850106904A4}" destId="{9E8FA5D6-F7CA-4B4B-9396-2340EAB737BB}" srcOrd="0" destOrd="0" presId="urn:microsoft.com/office/officeart/2005/8/layout/orgChart1"/>
    <dgm:cxn modelId="{54593BC1-3696-4541-BA35-EDB3F2C87B26}" type="presParOf" srcId="{9E8FA5D6-F7CA-4B4B-9396-2340EAB737BB}" destId="{AD2CC648-1FE7-400D-A98D-D989B65620EC}" srcOrd="0" destOrd="0" presId="urn:microsoft.com/office/officeart/2005/8/layout/orgChart1"/>
    <dgm:cxn modelId="{D9FBDFD3-8F2C-49CA-A062-A8E3307C0153}" type="presParOf" srcId="{AD2CC648-1FE7-400D-A98D-D989B65620EC}" destId="{635962DA-794B-4D24-BB85-53A5DB046D24}" srcOrd="0" destOrd="0" presId="urn:microsoft.com/office/officeart/2005/8/layout/orgChart1"/>
    <dgm:cxn modelId="{95A8C99E-26D6-4EEF-92DC-6994FA643806}" type="presParOf" srcId="{AD2CC648-1FE7-400D-A98D-D989B65620EC}" destId="{5FD35934-4082-46FB-80A4-5660804AFF76}" srcOrd="1" destOrd="0" presId="urn:microsoft.com/office/officeart/2005/8/layout/orgChart1"/>
    <dgm:cxn modelId="{CCD1A747-1EC5-4395-8F31-A0E1450326A2}" type="presParOf" srcId="{9E8FA5D6-F7CA-4B4B-9396-2340EAB737BB}" destId="{A04621CA-99B0-4EC3-9E43-88628D53F30C}" srcOrd="1" destOrd="0" presId="urn:microsoft.com/office/officeart/2005/8/layout/orgChart1"/>
    <dgm:cxn modelId="{2E2DDFD0-243F-40D1-B1FB-3692F09B7C53}" type="presParOf" srcId="{A04621CA-99B0-4EC3-9E43-88628D53F30C}" destId="{8BF40CDB-441E-4A87-A00A-12355106FFB8}" srcOrd="0" destOrd="0" presId="urn:microsoft.com/office/officeart/2005/8/layout/orgChart1"/>
    <dgm:cxn modelId="{55545222-0450-4416-956B-FFA7E59F0A06}" type="presParOf" srcId="{A04621CA-99B0-4EC3-9E43-88628D53F30C}" destId="{8F297C90-4CAA-4C91-8348-BFF16FB217D3}" srcOrd="1" destOrd="0" presId="urn:microsoft.com/office/officeart/2005/8/layout/orgChart1"/>
    <dgm:cxn modelId="{6BE01E3F-50FF-410E-B2ED-789926147E64}" type="presParOf" srcId="{8F297C90-4CAA-4C91-8348-BFF16FB217D3}" destId="{22A47160-CDE3-4185-8843-AD6CD779AA60}" srcOrd="0" destOrd="0" presId="urn:microsoft.com/office/officeart/2005/8/layout/orgChart1"/>
    <dgm:cxn modelId="{C67A4613-E44B-46D1-AEE7-BEB207FFA67D}" type="presParOf" srcId="{22A47160-CDE3-4185-8843-AD6CD779AA60}" destId="{92A02CDF-35F5-4C04-A112-DF619040EF8C}" srcOrd="0" destOrd="0" presId="urn:microsoft.com/office/officeart/2005/8/layout/orgChart1"/>
    <dgm:cxn modelId="{B4DEFB7F-5063-4FE8-A8E2-9ABF8BDB619B}" type="presParOf" srcId="{22A47160-CDE3-4185-8843-AD6CD779AA60}" destId="{06D49543-8500-4983-A0C3-5F555209C4F0}" srcOrd="1" destOrd="0" presId="urn:microsoft.com/office/officeart/2005/8/layout/orgChart1"/>
    <dgm:cxn modelId="{80E57206-BCAD-4C68-ACE2-6BF063C13013}" type="presParOf" srcId="{8F297C90-4CAA-4C91-8348-BFF16FB217D3}" destId="{22B21DC7-9546-4477-AAAA-D4D06BA964AC}" srcOrd="1" destOrd="0" presId="urn:microsoft.com/office/officeart/2005/8/layout/orgChart1"/>
    <dgm:cxn modelId="{07346199-C5DE-420A-B9AE-F50693F52ED8}" type="presParOf" srcId="{8F297C90-4CAA-4C91-8348-BFF16FB217D3}" destId="{7A53E327-C6F4-49FE-996E-3B99F0E78319}" srcOrd="2" destOrd="0" presId="urn:microsoft.com/office/officeart/2005/8/layout/orgChart1"/>
    <dgm:cxn modelId="{D87D48FD-A8DA-4269-8977-E2EDDA63503F}" type="presParOf" srcId="{A04621CA-99B0-4EC3-9E43-88628D53F30C}" destId="{F3A4187E-604E-4CAD-A67E-5AAC67D29FCA}" srcOrd="2" destOrd="0" presId="urn:microsoft.com/office/officeart/2005/8/layout/orgChart1"/>
    <dgm:cxn modelId="{EB6742C4-3279-4C79-92AE-0FF07C8321E9}" type="presParOf" srcId="{A04621CA-99B0-4EC3-9E43-88628D53F30C}" destId="{64C67D71-F83E-4F8F-9AC6-CD028CC1E72B}" srcOrd="3" destOrd="0" presId="urn:microsoft.com/office/officeart/2005/8/layout/orgChart1"/>
    <dgm:cxn modelId="{F0A591B5-BC29-421B-8486-F4FA3F0C25CB}" type="presParOf" srcId="{64C67D71-F83E-4F8F-9AC6-CD028CC1E72B}" destId="{E6DF2C5D-37BE-4B01-A42B-C9C31FECF3BB}" srcOrd="0" destOrd="0" presId="urn:microsoft.com/office/officeart/2005/8/layout/orgChart1"/>
    <dgm:cxn modelId="{FB3A9B2D-33C4-4433-BD77-85DE6F0F7AE5}" type="presParOf" srcId="{E6DF2C5D-37BE-4B01-A42B-C9C31FECF3BB}" destId="{54987164-9362-4846-BA6E-A2F5CFCB12FB}" srcOrd="0" destOrd="0" presId="urn:microsoft.com/office/officeart/2005/8/layout/orgChart1"/>
    <dgm:cxn modelId="{1C959FBD-73FE-4748-9855-490483F0ED2F}" type="presParOf" srcId="{E6DF2C5D-37BE-4B01-A42B-C9C31FECF3BB}" destId="{1C528CC9-40A9-4500-9033-E893DB507E71}" srcOrd="1" destOrd="0" presId="urn:microsoft.com/office/officeart/2005/8/layout/orgChart1"/>
    <dgm:cxn modelId="{7B398347-0EC6-4454-B98F-D08F58CEE3DA}" type="presParOf" srcId="{64C67D71-F83E-4F8F-9AC6-CD028CC1E72B}" destId="{FC5D8313-C252-4417-B5C7-3326B0B75EE6}" srcOrd="1" destOrd="0" presId="urn:microsoft.com/office/officeart/2005/8/layout/orgChart1"/>
    <dgm:cxn modelId="{4DBAB167-D115-4CC8-AE5E-2A80CEAB984B}" type="presParOf" srcId="{64C67D71-F83E-4F8F-9AC6-CD028CC1E72B}" destId="{52BE1E61-7CC0-40A0-A6ED-F21EECEDF675}" srcOrd="2" destOrd="0" presId="urn:microsoft.com/office/officeart/2005/8/layout/orgChart1"/>
    <dgm:cxn modelId="{EF06B0F1-4902-45CC-A0FE-06218D16355C}" type="presParOf" srcId="{A04621CA-99B0-4EC3-9E43-88628D53F30C}" destId="{6543FA76-DBE3-4ADE-A57C-B58953F9BAF2}" srcOrd="4" destOrd="0" presId="urn:microsoft.com/office/officeart/2005/8/layout/orgChart1"/>
    <dgm:cxn modelId="{F4C93E2C-EDE1-41D8-82E3-D97688AC1C5F}" type="presParOf" srcId="{A04621CA-99B0-4EC3-9E43-88628D53F30C}" destId="{282A6AB3-B326-441B-B32F-10F9CAA55778}" srcOrd="5" destOrd="0" presId="urn:microsoft.com/office/officeart/2005/8/layout/orgChart1"/>
    <dgm:cxn modelId="{544F4E0B-9263-4FEE-90BD-85D47AC07341}" type="presParOf" srcId="{282A6AB3-B326-441B-B32F-10F9CAA55778}" destId="{4469739F-9FBA-462F-83C0-0A731FC3D470}" srcOrd="0" destOrd="0" presId="urn:microsoft.com/office/officeart/2005/8/layout/orgChart1"/>
    <dgm:cxn modelId="{6004CA9F-0D76-4485-9A82-222B3BE75382}" type="presParOf" srcId="{4469739F-9FBA-462F-83C0-0A731FC3D470}" destId="{F5D29AB3-48A8-4AC9-A5D8-D91B6065FA17}" srcOrd="0" destOrd="0" presId="urn:microsoft.com/office/officeart/2005/8/layout/orgChart1"/>
    <dgm:cxn modelId="{C4982313-8177-47F8-BE34-5537E7F6E1E1}" type="presParOf" srcId="{4469739F-9FBA-462F-83C0-0A731FC3D470}" destId="{EE602908-5EC5-4B9C-A24F-40B3460175CB}" srcOrd="1" destOrd="0" presId="urn:microsoft.com/office/officeart/2005/8/layout/orgChart1"/>
    <dgm:cxn modelId="{3D8F5C6E-3367-4309-8FC4-9BFB2E8E2F17}" type="presParOf" srcId="{282A6AB3-B326-441B-B32F-10F9CAA55778}" destId="{5798B50C-9497-424A-BB41-703E5A3146DF}" srcOrd="1" destOrd="0" presId="urn:microsoft.com/office/officeart/2005/8/layout/orgChart1"/>
    <dgm:cxn modelId="{4A11F81B-5EB2-4074-B0DB-D40DF28D911D}" type="presParOf" srcId="{282A6AB3-B326-441B-B32F-10F9CAA55778}" destId="{5E5F7CFE-EF4E-4796-B6E5-BB84DA61A2CD}" srcOrd="2" destOrd="0" presId="urn:microsoft.com/office/officeart/2005/8/layout/orgChart1"/>
    <dgm:cxn modelId="{17A9C989-7686-4904-B9BF-68FCE4F498F9}" type="presParOf" srcId="{9E8FA5D6-F7CA-4B4B-9396-2340EAB737BB}" destId="{0C44AA8E-DC32-4AD1-A5E2-E81C29F6BF46}" srcOrd="2" destOrd="0" presId="urn:microsoft.com/office/officeart/2005/8/layout/orgChart1"/>
    <dgm:cxn modelId="{6C6C23CE-DB41-4E2D-A1F5-FE0F7BB2CD4A}" type="presParOf" srcId="{0C44AA8E-DC32-4AD1-A5E2-E81C29F6BF46}" destId="{6A6D02DE-F425-4B8A-A935-DE8A3EC39044}" srcOrd="0" destOrd="0" presId="urn:microsoft.com/office/officeart/2005/8/layout/orgChart1"/>
    <dgm:cxn modelId="{E8B13922-BC3F-4C86-B8EA-7885F3C90270}" type="presParOf" srcId="{0C44AA8E-DC32-4AD1-A5E2-E81C29F6BF46}" destId="{AD92E45B-A8A5-4447-93B9-9AC53F5359D6}" srcOrd="1" destOrd="0" presId="urn:microsoft.com/office/officeart/2005/8/layout/orgChart1"/>
    <dgm:cxn modelId="{8D71C310-ED21-432B-9524-34FFE9D618C0}" type="presParOf" srcId="{AD92E45B-A8A5-4447-93B9-9AC53F5359D6}" destId="{1B7EEFD1-1105-4BA3-ADFF-CEDB275AB998}" srcOrd="0" destOrd="0" presId="urn:microsoft.com/office/officeart/2005/8/layout/orgChart1"/>
    <dgm:cxn modelId="{3E2C5AFD-F367-404A-BF1B-0FC14529CA34}" type="presParOf" srcId="{1B7EEFD1-1105-4BA3-ADFF-CEDB275AB998}" destId="{C9CB263D-A94D-42F4-B70A-ACCAADD236C1}" srcOrd="0" destOrd="0" presId="urn:microsoft.com/office/officeart/2005/8/layout/orgChart1"/>
    <dgm:cxn modelId="{968F5BB5-0E2E-44B3-8CB0-08BD6DDA5916}" type="presParOf" srcId="{1B7EEFD1-1105-4BA3-ADFF-CEDB275AB998}" destId="{7EE2FE0F-A589-4555-89F3-E4D1927D1DCC}" srcOrd="1" destOrd="0" presId="urn:microsoft.com/office/officeart/2005/8/layout/orgChart1"/>
    <dgm:cxn modelId="{4AAEA0DE-C25C-4411-B6C8-905049181169}" type="presParOf" srcId="{AD92E45B-A8A5-4447-93B9-9AC53F5359D6}" destId="{B1394B75-AA67-4569-9B4D-FAAC1236F8FE}" srcOrd="1" destOrd="0" presId="urn:microsoft.com/office/officeart/2005/8/layout/orgChart1"/>
    <dgm:cxn modelId="{C09598D6-258C-4B6E-8523-A2DD2AD90417}" type="presParOf" srcId="{AD92E45B-A8A5-4447-93B9-9AC53F5359D6}" destId="{CA4448FD-E7C8-4343-A7A2-227BBF2ACE94}" srcOrd="2" destOrd="0" presId="urn:microsoft.com/office/officeart/2005/8/layout/orgChart1"/>
    <dgm:cxn modelId="{F3CD62A2-02E0-404C-A029-C6F644E0D89A}" type="presParOf" srcId="{0C44AA8E-DC32-4AD1-A5E2-E81C29F6BF46}" destId="{23981C03-2307-4037-8A0D-85ED99635809}" srcOrd="2" destOrd="0" presId="urn:microsoft.com/office/officeart/2005/8/layout/orgChart1"/>
    <dgm:cxn modelId="{3EBB7807-304F-46A1-9B73-3A74CF9F8D32}" type="presParOf" srcId="{0C44AA8E-DC32-4AD1-A5E2-E81C29F6BF46}" destId="{9F09CF16-E6C8-427D-8AF2-7349F90B6C4A}" srcOrd="3" destOrd="0" presId="urn:microsoft.com/office/officeart/2005/8/layout/orgChart1"/>
    <dgm:cxn modelId="{A701FBC9-2B95-4992-82F5-D31F44FD823A}" type="presParOf" srcId="{9F09CF16-E6C8-427D-8AF2-7349F90B6C4A}" destId="{610F3780-F903-4968-A619-8F440C9FE1E6}" srcOrd="0" destOrd="0" presId="urn:microsoft.com/office/officeart/2005/8/layout/orgChart1"/>
    <dgm:cxn modelId="{277B1A71-37CC-4115-B792-C57CAF2664FA}" type="presParOf" srcId="{610F3780-F903-4968-A619-8F440C9FE1E6}" destId="{7FA91E8F-1A41-4015-8380-AB84E0E9E0FA}" srcOrd="0" destOrd="0" presId="urn:microsoft.com/office/officeart/2005/8/layout/orgChart1"/>
    <dgm:cxn modelId="{9B8EDBE7-C71A-42FC-A059-758F0EB28FB5}" type="presParOf" srcId="{610F3780-F903-4968-A619-8F440C9FE1E6}" destId="{640276DF-6B13-491C-A71B-6917823DBA80}" srcOrd="1" destOrd="0" presId="urn:microsoft.com/office/officeart/2005/8/layout/orgChart1"/>
    <dgm:cxn modelId="{1B02E9FE-AA66-4672-8286-A3E603ECC9C6}" type="presParOf" srcId="{9F09CF16-E6C8-427D-8AF2-7349F90B6C4A}" destId="{5D40BD5A-9D9B-4875-ADD7-ABA180BB0064}" srcOrd="1" destOrd="0" presId="urn:microsoft.com/office/officeart/2005/8/layout/orgChart1"/>
    <dgm:cxn modelId="{758458C8-9AE7-49DA-BCDD-DF640D0E9B18}" type="presParOf" srcId="{9F09CF16-E6C8-427D-8AF2-7349F90B6C4A}" destId="{4D360F4B-805C-47CE-8358-A63D70429AD6}" srcOrd="2" destOrd="0" presId="urn:microsoft.com/office/officeart/2005/8/layout/orgChart1"/>
    <dgm:cxn modelId="{32A11A77-09D4-4C4B-9A42-02F9FB583837}" type="presParOf" srcId="{0C44AA8E-DC32-4AD1-A5E2-E81C29F6BF46}" destId="{1CF89754-CC22-4134-8087-3F7593D28B8B}" srcOrd="4" destOrd="0" presId="urn:microsoft.com/office/officeart/2005/8/layout/orgChart1"/>
    <dgm:cxn modelId="{4B38B3E7-ECB0-45C8-A30E-BDBB95F6A4E5}" type="presParOf" srcId="{0C44AA8E-DC32-4AD1-A5E2-E81C29F6BF46}" destId="{89BAB65F-70E8-4181-AA9E-46E48277DB90}" srcOrd="5" destOrd="0" presId="urn:microsoft.com/office/officeart/2005/8/layout/orgChart1"/>
    <dgm:cxn modelId="{859A3DDF-7E36-42F5-B60A-35E1958C0D99}" type="presParOf" srcId="{89BAB65F-70E8-4181-AA9E-46E48277DB90}" destId="{5BB09966-F2D5-4E69-B44F-34724F0B34AF}" srcOrd="0" destOrd="0" presId="urn:microsoft.com/office/officeart/2005/8/layout/orgChart1"/>
    <dgm:cxn modelId="{80F4C414-9377-4834-A9FF-584EDC9F3194}" type="presParOf" srcId="{5BB09966-F2D5-4E69-B44F-34724F0B34AF}" destId="{F9BD0ED3-E91C-45AD-BAB6-EDC670CA1853}" srcOrd="0" destOrd="0" presId="urn:microsoft.com/office/officeart/2005/8/layout/orgChart1"/>
    <dgm:cxn modelId="{00314BDE-20A7-458A-B84C-43FC230A35F4}" type="presParOf" srcId="{5BB09966-F2D5-4E69-B44F-34724F0B34AF}" destId="{3C61F406-DA02-4BC8-9CDB-E4ED7931D21F}" srcOrd="1" destOrd="0" presId="urn:microsoft.com/office/officeart/2005/8/layout/orgChart1"/>
    <dgm:cxn modelId="{74805FFC-09E1-41EE-B457-BDCCEE90DCB2}" type="presParOf" srcId="{89BAB65F-70E8-4181-AA9E-46E48277DB90}" destId="{1FBE74E7-8BDA-40CE-9118-F40A58CF47C0}" srcOrd="1" destOrd="0" presId="urn:microsoft.com/office/officeart/2005/8/layout/orgChart1"/>
    <dgm:cxn modelId="{8D294FEB-37C0-4533-8F72-5A74A8F5634F}" type="presParOf" srcId="{89BAB65F-70E8-4181-AA9E-46E48277DB90}" destId="{FE369E4F-B411-4F3B-B3C9-367289B482D3}" srcOrd="2" destOrd="0" presId="urn:microsoft.com/office/officeart/2005/8/layout/orgChar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16203B3-37EE-4629-8A2C-A3F9CE070319}" type="doc">
      <dgm:prSet loTypeId="urn:microsoft.com/office/officeart/2018/2/layout/IconLabelList" loCatId="icon" qsTypeId="urn:microsoft.com/office/officeart/2005/8/quickstyle/simple1" qsCatId="simple" csTypeId="urn:microsoft.com/office/officeart/2005/8/colors/accent1_2" csCatId="accent1" phldr="1"/>
      <dgm:spPr/>
      <dgm:t>
        <a:bodyPr/>
        <a:lstStyle/>
        <a:p>
          <a:endParaRPr lang="en-US"/>
        </a:p>
      </dgm:t>
    </dgm:pt>
    <dgm:pt modelId="{C4FA9CFB-47CB-414B-A9AC-26EA9649787B}">
      <dgm:prSet/>
      <dgm:spPr/>
      <dgm:t>
        <a:bodyPr/>
        <a:lstStyle/>
        <a:p>
          <a:pPr>
            <a:lnSpc>
              <a:spcPct val="100000"/>
            </a:lnSpc>
          </a:pPr>
          <a:r>
            <a:rPr lang="en-US"/>
            <a:t>Employee retention strengthens teams </a:t>
          </a:r>
        </a:p>
      </dgm:t>
    </dgm:pt>
    <dgm:pt modelId="{F948A707-9468-4159-A9B7-127C9B0BAE41}" type="parTrans" cxnId="{C6348C28-E4DA-4E29-8042-2328AD1EC131}">
      <dgm:prSet/>
      <dgm:spPr/>
      <dgm:t>
        <a:bodyPr/>
        <a:lstStyle/>
        <a:p>
          <a:endParaRPr lang="en-US"/>
        </a:p>
      </dgm:t>
    </dgm:pt>
    <dgm:pt modelId="{356669D9-450F-4D13-B956-A7831729FBAE}" type="sibTrans" cxnId="{C6348C28-E4DA-4E29-8042-2328AD1EC131}">
      <dgm:prSet/>
      <dgm:spPr/>
      <dgm:t>
        <a:bodyPr/>
        <a:lstStyle/>
        <a:p>
          <a:endParaRPr lang="en-US"/>
        </a:p>
      </dgm:t>
    </dgm:pt>
    <dgm:pt modelId="{31143F20-1F9C-479F-9B99-5DD00E098314}">
      <dgm:prSet/>
      <dgm:spPr/>
      <dgm:t>
        <a:bodyPr/>
        <a:lstStyle/>
        <a:p>
          <a:pPr>
            <a:lnSpc>
              <a:spcPct val="100000"/>
            </a:lnSpc>
          </a:pPr>
          <a:r>
            <a:rPr lang="en-US"/>
            <a:t>Cost to recruit and onboard new employees </a:t>
          </a:r>
        </a:p>
      </dgm:t>
    </dgm:pt>
    <dgm:pt modelId="{E1E08AC6-12C3-4B15-BD23-CEF34D2092FC}" type="parTrans" cxnId="{97B839B5-66A2-48FD-9B34-0A4157D8FE80}">
      <dgm:prSet/>
      <dgm:spPr/>
      <dgm:t>
        <a:bodyPr/>
        <a:lstStyle/>
        <a:p>
          <a:endParaRPr lang="en-US"/>
        </a:p>
      </dgm:t>
    </dgm:pt>
    <dgm:pt modelId="{459D2713-3527-42F9-A30C-281913FF8357}" type="sibTrans" cxnId="{97B839B5-66A2-48FD-9B34-0A4157D8FE80}">
      <dgm:prSet/>
      <dgm:spPr/>
      <dgm:t>
        <a:bodyPr/>
        <a:lstStyle/>
        <a:p>
          <a:endParaRPr lang="en-US"/>
        </a:p>
      </dgm:t>
    </dgm:pt>
    <dgm:pt modelId="{2A1648D9-F323-4961-BA9F-1C9783A4AD71}" type="pres">
      <dgm:prSet presAssocID="{916203B3-37EE-4629-8A2C-A3F9CE070319}" presName="root" presStyleCnt="0">
        <dgm:presLayoutVars>
          <dgm:dir/>
          <dgm:resizeHandles val="exact"/>
        </dgm:presLayoutVars>
      </dgm:prSet>
      <dgm:spPr/>
    </dgm:pt>
    <dgm:pt modelId="{D38C51FE-8C05-451D-875C-AB28DE02EFD9}" type="pres">
      <dgm:prSet presAssocID="{C4FA9CFB-47CB-414B-A9AC-26EA9649787B}" presName="compNode" presStyleCnt="0"/>
      <dgm:spPr/>
    </dgm:pt>
    <dgm:pt modelId="{2981AF07-14E9-41A3-B9CE-EC4FB6597773}" type="pres">
      <dgm:prSet presAssocID="{C4FA9CFB-47CB-414B-A9AC-26EA9649787B}"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Group"/>
        </a:ext>
      </dgm:extLst>
    </dgm:pt>
    <dgm:pt modelId="{72BDCBC6-09DC-4B27-A2EF-1446A6DAFFE0}" type="pres">
      <dgm:prSet presAssocID="{C4FA9CFB-47CB-414B-A9AC-26EA9649787B}" presName="spaceRect" presStyleCnt="0"/>
      <dgm:spPr/>
    </dgm:pt>
    <dgm:pt modelId="{D242645C-5CE1-49AD-9567-1A7E80256E48}" type="pres">
      <dgm:prSet presAssocID="{C4FA9CFB-47CB-414B-A9AC-26EA9649787B}" presName="textRect" presStyleLbl="revTx" presStyleIdx="0" presStyleCnt="2">
        <dgm:presLayoutVars>
          <dgm:chMax val="1"/>
          <dgm:chPref val="1"/>
        </dgm:presLayoutVars>
      </dgm:prSet>
      <dgm:spPr/>
    </dgm:pt>
    <dgm:pt modelId="{F7675A0A-CA2D-4D83-83A7-9F38CBDCFA1B}" type="pres">
      <dgm:prSet presAssocID="{356669D9-450F-4D13-B956-A7831729FBAE}" presName="sibTrans" presStyleCnt="0"/>
      <dgm:spPr/>
    </dgm:pt>
    <dgm:pt modelId="{0694457F-5EF1-47D0-8E0D-EA223CFE2DF2}" type="pres">
      <dgm:prSet presAssocID="{31143F20-1F9C-479F-9B99-5DD00E098314}" presName="compNode" presStyleCnt="0"/>
      <dgm:spPr/>
    </dgm:pt>
    <dgm:pt modelId="{5F8CC6F8-CFEE-4A52-A3B1-10A9FCE12662}" type="pres">
      <dgm:prSet presAssocID="{31143F20-1F9C-479F-9B99-5DD00E098314}"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Money"/>
        </a:ext>
      </dgm:extLst>
    </dgm:pt>
    <dgm:pt modelId="{2BB0566F-D155-4B19-AC1E-245CC03A0497}" type="pres">
      <dgm:prSet presAssocID="{31143F20-1F9C-479F-9B99-5DD00E098314}" presName="spaceRect" presStyleCnt="0"/>
      <dgm:spPr/>
    </dgm:pt>
    <dgm:pt modelId="{607262FC-C2F5-42BE-A960-94C5E1A71D18}" type="pres">
      <dgm:prSet presAssocID="{31143F20-1F9C-479F-9B99-5DD00E098314}" presName="textRect" presStyleLbl="revTx" presStyleIdx="1" presStyleCnt="2">
        <dgm:presLayoutVars>
          <dgm:chMax val="1"/>
          <dgm:chPref val="1"/>
        </dgm:presLayoutVars>
      </dgm:prSet>
      <dgm:spPr/>
    </dgm:pt>
  </dgm:ptLst>
  <dgm:cxnLst>
    <dgm:cxn modelId="{C6348C28-E4DA-4E29-8042-2328AD1EC131}" srcId="{916203B3-37EE-4629-8A2C-A3F9CE070319}" destId="{C4FA9CFB-47CB-414B-A9AC-26EA9649787B}" srcOrd="0" destOrd="0" parTransId="{F948A707-9468-4159-A9B7-127C9B0BAE41}" sibTransId="{356669D9-450F-4D13-B956-A7831729FBAE}"/>
    <dgm:cxn modelId="{43511236-DB5E-4925-8C5B-585F88B8FEC0}" type="presOf" srcId="{916203B3-37EE-4629-8A2C-A3F9CE070319}" destId="{2A1648D9-F323-4961-BA9F-1C9783A4AD71}" srcOrd="0" destOrd="0" presId="urn:microsoft.com/office/officeart/2018/2/layout/IconLabelList"/>
    <dgm:cxn modelId="{BC8A158A-13E2-40D4-BB90-32320FD699A9}" type="presOf" srcId="{31143F20-1F9C-479F-9B99-5DD00E098314}" destId="{607262FC-C2F5-42BE-A960-94C5E1A71D18}" srcOrd="0" destOrd="0" presId="urn:microsoft.com/office/officeart/2018/2/layout/IconLabelList"/>
    <dgm:cxn modelId="{97B839B5-66A2-48FD-9B34-0A4157D8FE80}" srcId="{916203B3-37EE-4629-8A2C-A3F9CE070319}" destId="{31143F20-1F9C-479F-9B99-5DD00E098314}" srcOrd="1" destOrd="0" parTransId="{E1E08AC6-12C3-4B15-BD23-CEF34D2092FC}" sibTransId="{459D2713-3527-42F9-A30C-281913FF8357}"/>
    <dgm:cxn modelId="{319FE2CC-5B96-4D42-9DA4-2DCD5B5FC43B}" type="presOf" srcId="{C4FA9CFB-47CB-414B-A9AC-26EA9649787B}" destId="{D242645C-5CE1-49AD-9567-1A7E80256E48}" srcOrd="0" destOrd="0" presId="urn:microsoft.com/office/officeart/2018/2/layout/IconLabelList"/>
    <dgm:cxn modelId="{2DBE0DB5-5772-4BB0-81CE-916675A71B15}" type="presParOf" srcId="{2A1648D9-F323-4961-BA9F-1C9783A4AD71}" destId="{D38C51FE-8C05-451D-875C-AB28DE02EFD9}" srcOrd="0" destOrd="0" presId="urn:microsoft.com/office/officeart/2018/2/layout/IconLabelList"/>
    <dgm:cxn modelId="{B368E2B3-2F66-4060-AD0A-78BFE3ADB7A9}" type="presParOf" srcId="{D38C51FE-8C05-451D-875C-AB28DE02EFD9}" destId="{2981AF07-14E9-41A3-B9CE-EC4FB6597773}" srcOrd="0" destOrd="0" presId="urn:microsoft.com/office/officeart/2018/2/layout/IconLabelList"/>
    <dgm:cxn modelId="{F8C4488C-9C29-4641-90E8-1CFAB9A36A07}" type="presParOf" srcId="{D38C51FE-8C05-451D-875C-AB28DE02EFD9}" destId="{72BDCBC6-09DC-4B27-A2EF-1446A6DAFFE0}" srcOrd="1" destOrd="0" presId="urn:microsoft.com/office/officeart/2018/2/layout/IconLabelList"/>
    <dgm:cxn modelId="{7DF83AAC-6D67-48A3-BD39-4B519D9656B8}" type="presParOf" srcId="{D38C51FE-8C05-451D-875C-AB28DE02EFD9}" destId="{D242645C-5CE1-49AD-9567-1A7E80256E48}" srcOrd="2" destOrd="0" presId="urn:microsoft.com/office/officeart/2018/2/layout/IconLabelList"/>
    <dgm:cxn modelId="{E7DEB852-F034-4FFF-8B26-7FE6F79D9B99}" type="presParOf" srcId="{2A1648D9-F323-4961-BA9F-1C9783A4AD71}" destId="{F7675A0A-CA2D-4D83-83A7-9F38CBDCFA1B}" srcOrd="1" destOrd="0" presId="urn:microsoft.com/office/officeart/2018/2/layout/IconLabelList"/>
    <dgm:cxn modelId="{47B2A71F-4D14-4924-8569-3B69328C996C}" type="presParOf" srcId="{2A1648D9-F323-4961-BA9F-1C9783A4AD71}" destId="{0694457F-5EF1-47D0-8E0D-EA223CFE2DF2}" srcOrd="2" destOrd="0" presId="urn:microsoft.com/office/officeart/2018/2/layout/IconLabelList"/>
    <dgm:cxn modelId="{118299B8-3DF0-48E2-9264-89CD747FF3C0}" type="presParOf" srcId="{0694457F-5EF1-47D0-8E0D-EA223CFE2DF2}" destId="{5F8CC6F8-CFEE-4A52-A3B1-10A9FCE12662}" srcOrd="0" destOrd="0" presId="urn:microsoft.com/office/officeart/2018/2/layout/IconLabelList"/>
    <dgm:cxn modelId="{5E57D0C3-0096-493C-9166-3938803DD75A}" type="presParOf" srcId="{0694457F-5EF1-47D0-8E0D-EA223CFE2DF2}" destId="{2BB0566F-D155-4B19-AC1E-245CC03A0497}" srcOrd="1" destOrd="0" presId="urn:microsoft.com/office/officeart/2018/2/layout/IconLabelList"/>
    <dgm:cxn modelId="{B0C32313-AE8B-4B03-B9D8-03FCD26BA91A}" type="presParOf" srcId="{0694457F-5EF1-47D0-8E0D-EA223CFE2DF2}" destId="{607262FC-C2F5-42BE-A960-94C5E1A71D18}" srcOrd="2" destOrd="0" presId="urn:microsoft.com/office/officeart/2018/2/layout/Icon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1AF55CB-CAC2-4E7A-9C4F-D3D55CDBADAD}"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28A4663D-CA03-4608-A742-6625EE91BDAC}">
      <dgm:prSet/>
      <dgm:spPr/>
      <dgm:t>
        <a:bodyPr/>
        <a:lstStyle/>
        <a:p>
          <a:r>
            <a:rPr lang="en-US"/>
            <a:t>Competitive salaries and benefits</a:t>
          </a:r>
        </a:p>
      </dgm:t>
    </dgm:pt>
    <dgm:pt modelId="{24C463A2-E65F-435F-A66E-90EC2BD9BCD8}" type="parTrans" cxnId="{B69D31B0-69AA-49E1-BB37-6970539E671E}">
      <dgm:prSet/>
      <dgm:spPr/>
      <dgm:t>
        <a:bodyPr/>
        <a:lstStyle/>
        <a:p>
          <a:endParaRPr lang="en-US"/>
        </a:p>
      </dgm:t>
    </dgm:pt>
    <dgm:pt modelId="{3EE19462-4D9E-4B12-B083-98F8C4DA1CF8}" type="sibTrans" cxnId="{B69D31B0-69AA-49E1-BB37-6970539E671E}">
      <dgm:prSet/>
      <dgm:spPr/>
      <dgm:t>
        <a:bodyPr/>
        <a:lstStyle/>
        <a:p>
          <a:endParaRPr lang="en-US"/>
        </a:p>
      </dgm:t>
    </dgm:pt>
    <dgm:pt modelId="{5AA3B685-58BB-4C05-83B1-330C1E62CD2D}">
      <dgm:prSet/>
      <dgm:spPr/>
      <dgm:t>
        <a:bodyPr/>
        <a:lstStyle/>
        <a:p>
          <a:r>
            <a:rPr lang="en-US"/>
            <a:t>Normalize regular two-way feedback OPEN COMMUNICATION</a:t>
          </a:r>
        </a:p>
      </dgm:t>
    </dgm:pt>
    <dgm:pt modelId="{A6DD1F58-E163-4020-A593-F6BAA3A609E6}" type="parTrans" cxnId="{B90952DA-C482-4126-ADDA-55CC1DDF5DA8}">
      <dgm:prSet/>
      <dgm:spPr/>
      <dgm:t>
        <a:bodyPr/>
        <a:lstStyle/>
        <a:p>
          <a:endParaRPr lang="en-US"/>
        </a:p>
      </dgm:t>
    </dgm:pt>
    <dgm:pt modelId="{D392D330-3DCB-403A-BF8A-0D8086DD9A19}" type="sibTrans" cxnId="{B90952DA-C482-4126-ADDA-55CC1DDF5DA8}">
      <dgm:prSet/>
      <dgm:spPr/>
      <dgm:t>
        <a:bodyPr/>
        <a:lstStyle/>
        <a:p>
          <a:endParaRPr lang="en-US"/>
        </a:p>
      </dgm:t>
    </dgm:pt>
    <dgm:pt modelId="{ABAD2E65-F816-4122-9AEE-817BF4CE4835}">
      <dgm:prSet/>
      <dgm:spPr/>
      <dgm:t>
        <a:bodyPr/>
        <a:lstStyle/>
        <a:p>
          <a:r>
            <a:rPr lang="en-US"/>
            <a:t>Make time for each employee</a:t>
          </a:r>
        </a:p>
      </dgm:t>
    </dgm:pt>
    <dgm:pt modelId="{70BC10ED-D01C-4ACD-B0E8-4CCC0CA2A0CE}" type="parTrans" cxnId="{CCA3A248-D98B-4BFC-AD3C-8C3CA832BBAC}">
      <dgm:prSet/>
      <dgm:spPr/>
      <dgm:t>
        <a:bodyPr/>
        <a:lstStyle/>
        <a:p>
          <a:endParaRPr lang="en-US"/>
        </a:p>
      </dgm:t>
    </dgm:pt>
    <dgm:pt modelId="{A359D478-3330-449A-A9BA-9F27FE3C56FA}" type="sibTrans" cxnId="{CCA3A248-D98B-4BFC-AD3C-8C3CA832BBAC}">
      <dgm:prSet/>
      <dgm:spPr/>
      <dgm:t>
        <a:bodyPr/>
        <a:lstStyle/>
        <a:p>
          <a:endParaRPr lang="en-US"/>
        </a:p>
      </dgm:t>
    </dgm:pt>
    <dgm:pt modelId="{9F6DF48F-B0E7-4545-812F-A5111A784302}">
      <dgm:prSet/>
      <dgm:spPr/>
      <dgm:t>
        <a:bodyPr/>
        <a:lstStyle/>
        <a:p>
          <a:r>
            <a:rPr lang="en-US"/>
            <a:t>Focus on culture</a:t>
          </a:r>
        </a:p>
      </dgm:t>
    </dgm:pt>
    <dgm:pt modelId="{8AC9BAD3-B9CE-49EC-B2B7-C0874FA4A4D2}" type="parTrans" cxnId="{A50C381C-2D5C-4D65-9DD2-F58CBFD10F49}">
      <dgm:prSet/>
      <dgm:spPr/>
      <dgm:t>
        <a:bodyPr/>
        <a:lstStyle/>
        <a:p>
          <a:endParaRPr lang="en-US"/>
        </a:p>
      </dgm:t>
    </dgm:pt>
    <dgm:pt modelId="{21678F99-79AA-4360-A370-661C808D44CE}" type="sibTrans" cxnId="{A50C381C-2D5C-4D65-9DD2-F58CBFD10F49}">
      <dgm:prSet/>
      <dgm:spPr/>
      <dgm:t>
        <a:bodyPr/>
        <a:lstStyle/>
        <a:p>
          <a:endParaRPr lang="en-US"/>
        </a:p>
      </dgm:t>
    </dgm:pt>
    <dgm:pt modelId="{357329AE-70D7-42C6-8665-F39CA4478E33}">
      <dgm:prSet/>
      <dgm:spPr/>
      <dgm:t>
        <a:bodyPr/>
        <a:lstStyle/>
        <a:p>
          <a:r>
            <a:rPr lang="en-US"/>
            <a:t>Stand behind your word</a:t>
          </a:r>
        </a:p>
      </dgm:t>
    </dgm:pt>
    <dgm:pt modelId="{1CB8A030-8AFC-4400-9566-AB96275BA75F}" type="parTrans" cxnId="{258A7B19-127C-433E-894D-0878F7CDB622}">
      <dgm:prSet/>
      <dgm:spPr/>
      <dgm:t>
        <a:bodyPr/>
        <a:lstStyle/>
        <a:p>
          <a:endParaRPr lang="en-US"/>
        </a:p>
      </dgm:t>
    </dgm:pt>
    <dgm:pt modelId="{B65ADD46-8C9F-44FD-B40F-4D066689CB88}" type="sibTrans" cxnId="{258A7B19-127C-433E-894D-0878F7CDB622}">
      <dgm:prSet/>
      <dgm:spPr/>
      <dgm:t>
        <a:bodyPr/>
        <a:lstStyle/>
        <a:p>
          <a:endParaRPr lang="en-US"/>
        </a:p>
      </dgm:t>
    </dgm:pt>
    <dgm:pt modelId="{CD503F2D-8673-4A3B-80DA-4DC00E04B61F}">
      <dgm:prSet/>
      <dgm:spPr/>
      <dgm:t>
        <a:bodyPr/>
        <a:lstStyle/>
        <a:p>
          <a:r>
            <a:rPr lang="en-US"/>
            <a:t>Transparency and communication</a:t>
          </a:r>
        </a:p>
      </dgm:t>
    </dgm:pt>
    <dgm:pt modelId="{2E887BA7-95F9-404E-B78E-1991060CF629}" type="parTrans" cxnId="{93FA4BBF-A1C5-4855-98A8-1B3B180BCDA3}">
      <dgm:prSet/>
      <dgm:spPr/>
      <dgm:t>
        <a:bodyPr/>
        <a:lstStyle/>
        <a:p>
          <a:endParaRPr lang="en-US"/>
        </a:p>
      </dgm:t>
    </dgm:pt>
    <dgm:pt modelId="{5F84C034-ECFE-4236-AC25-2CD689F84A88}" type="sibTrans" cxnId="{93FA4BBF-A1C5-4855-98A8-1B3B180BCDA3}">
      <dgm:prSet/>
      <dgm:spPr/>
      <dgm:t>
        <a:bodyPr/>
        <a:lstStyle/>
        <a:p>
          <a:endParaRPr lang="en-US"/>
        </a:p>
      </dgm:t>
    </dgm:pt>
    <dgm:pt modelId="{182B83C5-5023-421E-8ECD-D08C4E410FE1}">
      <dgm:prSet phldr="0"/>
      <dgm:spPr/>
      <dgm:t>
        <a:bodyPr/>
        <a:lstStyle/>
        <a:p>
          <a:r>
            <a:rPr lang="en-US">
              <a:solidFill>
                <a:schemeClr val="bg1"/>
              </a:solidFill>
              <a:latin typeface="Calibri"/>
              <a:ea typeface="Calibri"/>
              <a:cs typeface="Calibri"/>
            </a:rPr>
            <a:t>Balance between sustainable yet challenging workloads</a:t>
          </a:r>
          <a:endParaRPr lang="en-US">
            <a:solidFill>
              <a:schemeClr val="bg1"/>
            </a:solidFill>
            <a:latin typeface="Franklin Gothic Medium" panose="020B0603020102020204"/>
          </a:endParaRPr>
        </a:p>
      </dgm:t>
    </dgm:pt>
    <dgm:pt modelId="{54F186B2-6691-42D7-B887-FC3FB68846AE}" type="parTrans" cxnId="{EF4C5976-4091-480F-9EBA-345419FB88D7}">
      <dgm:prSet/>
      <dgm:spPr/>
    </dgm:pt>
    <dgm:pt modelId="{9AE696E1-F22D-47CE-BC01-45A1AC7FB996}" type="sibTrans" cxnId="{EF4C5976-4091-480F-9EBA-345419FB88D7}">
      <dgm:prSet/>
      <dgm:spPr/>
    </dgm:pt>
    <dgm:pt modelId="{D8F23D3A-977B-4835-BED7-C61F85B70F48}">
      <dgm:prSet phldr="0"/>
      <dgm:spPr/>
      <dgm:t>
        <a:bodyPr/>
        <a:lstStyle/>
        <a:p>
          <a:pPr rtl="0"/>
          <a:r>
            <a:rPr lang="en-US">
              <a:solidFill>
                <a:schemeClr val="bg1"/>
              </a:solidFill>
              <a:latin typeface="Calibri"/>
              <a:ea typeface="Calibri"/>
              <a:cs typeface="Calibri"/>
            </a:rPr>
            <a:t>Opportunities for professional development and career advancement</a:t>
          </a:r>
        </a:p>
      </dgm:t>
    </dgm:pt>
    <dgm:pt modelId="{3114EB8B-4A53-4EA1-BC7F-1BB8159BD41B}" type="parTrans" cxnId="{E901732C-5F93-491C-9C3D-ACD78791D489}">
      <dgm:prSet/>
      <dgm:spPr/>
    </dgm:pt>
    <dgm:pt modelId="{1B6FF930-BF2F-4172-A98E-CF0C5BD2CA73}" type="sibTrans" cxnId="{E901732C-5F93-491C-9C3D-ACD78791D489}">
      <dgm:prSet/>
      <dgm:spPr/>
    </dgm:pt>
    <dgm:pt modelId="{5524FF92-2862-47B3-A115-24409DBEEA4B}" type="pres">
      <dgm:prSet presAssocID="{A1AF55CB-CAC2-4E7A-9C4F-D3D55CDBADAD}" presName="diagram" presStyleCnt="0">
        <dgm:presLayoutVars>
          <dgm:dir/>
          <dgm:resizeHandles val="exact"/>
        </dgm:presLayoutVars>
      </dgm:prSet>
      <dgm:spPr/>
    </dgm:pt>
    <dgm:pt modelId="{4630E9EA-F781-43B3-829A-AB2FC349089E}" type="pres">
      <dgm:prSet presAssocID="{28A4663D-CA03-4608-A742-6625EE91BDAC}" presName="node" presStyleLbl="node1" presStyleIdx="0" presStyleCnt="8">
        <dgm:presLayoutVars>
          <dgm:bulletEnabled val="1"/>
        </dgm:presLayoutVars>
      </dgm:prSet>
      <dgm:spPr/>
    </dgm:pt>
    <dgm:pt modelId="{7C44EF22-6EFF-47BF-AEC5-4C83EB524757}" type="pres">
      <dgm:prSet presAssocID="{3EE19462-4D9E-4B12-B083-98F8C4DA1CF8}" presName="sibTrans" presStyleCnt="0"/>
      <dgm:spPr/>
    </dgm:pt>
    <dgm:pt modelId="{BD97CCB2-F31E-4DDF-AFD3-EF4B5825DD12}" type="pres">
      <dgm:prSet presAssocID="{5AA3B685-58BB-4C05-83B1-330C1E62CD2D}" presName="node" presStyleLbl="node1" presStyleIdx="1" presStyleCnt="8">
        <dgm:presLayoutVars>
          <dgm:bulletEnabled val="1"/>
        </dgm:presLayoutVars>
      </dgm:prSet>
      <dgm:spPr/>
    </dgm:pt>
    <dgm:pt modelId="{7919CE83-EB86-4FE9-A6B0-54CBC17E8A09}" type="pres">
      <dgm:prSet presAssocID="{D392D330-3DCB-403A-BF8A-0D8086DD9A19}" presName="sibTrans" presStyleCnt="0"/>
      <dgm:spPr/>
    </dgm:pt>
    <dgm:pt modelId="{8546C0DA-4224-4E4F-9743-062B4B74601F}" type="pres">
      <dgm:prSet presAssocID="{ABAD2E65-F816-4122-9AEE-817BF4CE4835}" presName="node" presStyleLbl="node1" presStyleIdx="2" presStyleCnt="8">
        <dgm:presLayoutVars>
          <dgm:bulletEnabled val="1"/>
        </dgm:presLayoutVars>
      </dgm:prSet>
      <dgm:spPr/>
    </dgm:pt>
    <dgm:pt modelId="{2A6004A5-6429-4D89-96BE-728B9A94BE31}" type="pres">
      <dgm:prSet presAssocID="{A359D478-3330-449A-A9BA-9F27FE3C56FA}" presName="sibTrans" presStyleCnt="0"/>
      <dgm:spPr/>
    </dgm:pt>
    <dgm:pt modelId="{8F24D968-AD9D-4410-A854-E0FAB883C91A}" type="pres">
      <dgm:prSet presAssocID="{9F6DF48F-B0E7-4545-812F-A5111A784302}" presName="node" presStyleLbl="node1" presStyleIdx="3" presStyleCnt="8">
        <dgm:presLayoutVars>
          <dgm:bulletEnabled val="1"/>
        </dgm:presLayoutVars>
      </dgm:prSet>
      <dgm:spPr/>
    </dgm:pt>
    <dgm:pt modelId="{C837CE88-180B-4A4F-A909-C39CC87D8ABC}" type="pres">
      <dgm:prSet presAssocID="{21678F99-79AA-4360-A370-661C808D44CE}" presName="sibTrans" presStyleCnt="0"/>
      <dgm:spPr/>
    </dgm:pt>
    <dgm:pt modelId="{6C7C9E59-2E62-45B7-9B39-3199CFED7B6D}" type="pres">
      <dgm:prSet presAssocID="{357329AE-70D7-42C6-8665-F39CA4478E33}" presName="node" presStyleLbl="node1" presStyleIdx="4" presStyleCnt="8">
        <dgm:presLayoutVars>
          <dgm:bulletEnabled val="1"/>
        </dgm:presLayoutVars>
      </dgm:prSet>
      <dgm:spPr/>
    </dgm:pt>
    <dgm:pt modelId="{93AB1F58-A479-4F36-B168-1D626449EEB3}" type="pres">
      <dgm:prSet presAssocID="{B65ADD46-8C9F-44FD-B40F-4D066689CB88}" presName="sibTrans" presStyleCnt="0"/>
      <dgm:spPr/>
    </dgm:pt>
    <dgm:pt modelId="{8B22DDCA-D47D-43DF-87EB-E5EFC12F1349}" type="pres">
      <dgm:prSet presAssocID="{CD503F2D-8673-4A3B-80DA-4DC00E04B61F}" presName="node" presStyleLbl="node1" presStyleIdx="5" presStyleCnt="8">
        <dgm:presLayoutVars>
          <dgm:bulletEnabled val="1"/>
        </dgm:presLayoutVars>
      </dgm:prSet>
      <dgm:spPr/>
    </dgm:pt>
    <dgm:pt modelId="{80AFDF3E-970A-4286-A406-692F97D52ABC}" type="pres">
      <dgm:prSet presAssocID="{5F84C034-ECFE-4236-AC25-2CD689F84A88}" presName="sibTrans" presStyleCnt="0"/>
      <dgm:spPr/>
    </dgm:pt>
    <dgm:pt modelId="{3E6D7D42-5557-4A68-A9D2-51626666F2A7}" type="pres">
      <dgm:prSet presAssocID="{D8F23D3A-977B-4835-BED7-C61F85B70F48}" presName="node" presStyleLbl="node1" presStyleIdx="6" presStyleCnt="8">
        <dgm:presLayoutVars>
          <dgm:bulletEnabled val="1"/>
        </dgm:presLayoutVars>
      </dgm:prSet>
      <dgm:spPr/>
    </dgm:pt>
    <dgm:pt modelId="{693516BA-DE0C-4270-9D38-530F62904C5A}" type="pres">
      <dgm:prSet presAssocID="{1B6FF930-BF2F-4172-A98E-CF0C5BD2CA73}" presName="sibTrans" presStyleCnt="0"/>
      <dgm:spPr/>
    </dgm:pt>
    <dgm:pt modelId="{C5F4C569-1797-4DAA-A2AD-39B953ED3457}" type="pres">
      <dgm:prSet presAssocID="{182B83C5-5023-421E-8ECD-D08C4E410FE1}" presName="node" presStyleLbl="node1" presStyleIdx="7" presStyleCnt="8">
        <dgm:presLayoutVars>
          <dgm:bulletEnabled val="1"/>
        </dgm:presLayoutVars>
      </dgm:prSet>
      <dgm:spPr/>
    </dgm:pt>
  </dgm:ptLst>
  <dgm:cxnLst>
    <dgm:cxn modelId="{BE995119-3726-4A14-A8AF-2ECADF8A5D18}" type="presOf" srcId="{ABAD2E65-F816-4122-9AEE-817BF4CE4835}" destId="{8546C0DA-4224-4E4F-9743-062B4B74601F}" srcOrd="0" destOrd="0" presId="urn:microsoft.com/office/officeart/2005/8/layout/default"/>
    <dgm:cxn modelId="{258A7B19-127C-433E-894D-0878F7CDB622}" srcId="{A1AF55CB-CAC2-4E7A-9C4F-D3D55CDBADAD}" destId="{357329AE-70D7-42C6-8665-F39CA4478E33}" srcOrd="4" destOrd="0" parTransId="{1CB8A030-8AFC-4400-9566-AB96275BA75F}" sibTransId="{B65ADD46-8C9F-44FD-B40F-4D066689CB88}"/>
    <dgm:cxn modelId="{A50C381C-2D5C-4D65-9DD2-F58CBFD10F49}" srcId="{A1AF55CB-CAC2-4E7A-9C4F-D3D55CDBADAD}" destId="{9F6DF48F-B0E7-4545-812F-A5111A784302}" srcOrd="3" destOrd="0" parTransId="{8AC9BAD3-B9CE-49EC-B2B7-C0874FA4A4D2}" sibTransId="{21678F99-79AA-4360-A370-661C808D44CE}"/>
    <dgm:cxn modelId="{E901732C-5F93-491C-9C3D-ACD78791D489}" srcId="{A1AF55CB-CAC2-4E7A-9C4F-D3D55CDBADAD}" destId="{D8F23D3A-977B-4835-BED7-C61F85B70F48}" srcOrd="6" destOrd="0" parTransId="{3114EB8B-4A53-4EA1-BC7F-1BB8159BD41B}" sibTransId="{1B6FF930-BF2F-4172-A98E-CF0C5BD2CA73}"/>
    <dgm:cxn modelId="{1DF45340-AD3A-4573-BF4D-575227F2C3C6}" type="presOf" srcId="{182B83C5-5023-421E-8ECD-D08C4E410FE1}" destId="{C5F4C569-1797-4DAA-A2AD-39B953ED3457}" srcOrd="0" destOrd="0" presId="urn:microsoft.com/office/officeart/2005/8/layout/default"/>
    <dgm:cxn modelId="{B91D8B40-A3B6-412A-A436-1FCAEB76503C}" type="presOf" srcId="{28A4663D-CA03-4608-A742-6625EE91BDAC}" destId="{4630E9EA-F781-43B3-829A-AB2FC349089E}" srcOrd="0" destOrd="0" presId="urn:microsoft.com/office/officeart/2005/8/layout/default"/>
    <dgm:cxn modelId="{BC83B743-5A06-40AE-B9D3-C26C462A4011}" type="presOf" srcId="{A1AF55CB-CAC2-4E7A-9C4F-D3D55CDBADAD}" destId="{5524FF92-2862-47B3-A115-24409DBEEA4B}" srcOrd="0" destOrd="0" presId="urn:microsoft.com/office/officeart/2005/8/layout/default"/>
    <dgm:cxn modelId="{CCA3A248-D98B-4BFC-AD3C-8C3CA832BBAC}" srcId="{A1AF55CB-CAC2-4E7A-9C4F-D3D55CDBADAD}" destId="{ABAD2E65-F816-4122-9AEE-817BF4CE4835}" srcOrd="2" destOrd="0" parTransId="{70BC10ED-D01C-4ACD-B0E8-4CCC0CA2A0CE}" sibTransId="{A359D478-3330-449A-A9BA-9F27FE3C56FA}"/>
    <dgm:cxn modelId="{EF4C5976-4091-480F-9EBA-345419FB88D7}" srcId="{A1AF55CB-CAC2-4E7A-9C4F-D3D55CDBADAD}" destId="{182B83C5-5023-421E-8ECD-D08C4E410FE1}" srcOrd="7" destOrd="0" parTransId="{54F186B2-6691-42D7-B887-FC3FB68846AE}" sibTransId="{9AE696E1-F22D-47CE-BC01-45A1AC7FB996}"/>
    <dgm:cxn modelId="{76F9775A-47B9-4FDA-9A2A-962C763AE2E4}" type="presOf" srcId="{CD503F2D-8673-4A3B-80DA-4DC00E04B61F}" destId="{8B22DDCA-D47D-43DF-87EB-E5EFC12F1349}" srcOrd="0" destOrd="0" presId="urn:microsoft.com/office/officeart/2005/8/layout/default"/>
    <dgm:cxn modelId="{F97EEA84-C967-4F93-BA5F-60FB4E61F851}" type="presOf" srcId="{357329AE-70D7-42C6-8665-F39CA4478E33}" destId="{6C7C9E59-2E62-45B7-9B39-3199CFED7B6D}" srcOrd="0" destOrd="0" presId="urn:microsoft.com/office/officeart/2005/8/layout/default"/>
    <dgm:cxn modelId="{E91FD88E-0C45-40D6-A904-66F13315A59D}" type="presOf" srcId="{D8F23D3A-977B-4835-BED7-C61F85B70F48}" destId="{3E6D7D42-5557-4A68-A9D2-51626666F2A7}" srcOrd="0" destOrd="0" presId="urn:microsoft.com/office/officeart/2005/8/layout/default"/>
    <dgm:cxn modelId="{B69D31B0-69AA-49E1-BB37-6970539E671E}" srcId="{A1AF55CB-CAC2-4E7A-9C4F-D3D55CDBADAD}" destId="{28A4663D-CA03-4608-A742-6625EE91BDAC}" srcOrd="0" destOrd="0" parTransId="{24C463A2-E65F-435F-A66E-90EC2BD9BCD8}" sibTransId="{3EE19462-4D9E-4B12-B083-98F8C4DA1CF8}"/>
    <dgm:cxn modelId="{93FA4BBF-A1C5-4855-98A8-1B3B180BCDA3}" srcId="{A1AF55CB-CAC2-4E7A-9C4F-D3D55CDBADAD}" destId="{CD503F2D-8673-4A3B-80DA-4DC00E04B61F}" srcOrd="5" destOrd="0" parTransId="{2E887BA7-95F9-404E-B78E-1991060CF629}" sibTransId="{5F84C034-ECFE-4236-AC25-2CD689F84A88}"/>
    <dgm:cxn modelId="{B90952DA-C482-4126-ADDA-55CC1DDF5DA8}" srcId="{A1AF55CB-CAC2-4E7A-9C4F-D3D55CDBADAD}" destId="{5AA3B685-58BB-4C05-83B1-330C1E62CD2D}" srcOrd="1" destOrd="0" parTransId="{A6DD1F58-E163-4020-A593-F6BAA3A609E6}" sibTransId="{D392D330-3DCB-403A-BF8A-0D8086DD9A19}"/>
    <dgm:cxn modelId="{7394FBDB-20D6-4850-A817-4EBF5D87D06D}" type="presOf" srcId="{9F6DF48F-B0E7-4545-812F-A5111A784302}" destId="{8F24D968-AD9D-4410-A854-E0FAB883C91A}" srcOrd="0" destOrd="0" presId="urn:microsoft.com/office/officeart/2005/8/layout/default"/>
    <dgm:cxn modelId="{F5F340EE-E474-4745-B8CE-D42F0C6A7DC6}" type="presOf" srcId="{5AA3B685-58BB-4C05-83B1-330C1E62CD2D}" destId="{BD97CCB2-F31E-4DDF-AFD3-EF4B5825DD12}" srcOrd="0" destOrd="0" presId="urn:microsoft.com/office/officeart/2005/8/layout/default"/>
    <dgm:cxn modelId="{245055A3-DE7F-4F39-91FB-4DEDF3B64E56}" type="presParOf" srcId="{5524FF92-2862-47B3-A115-24409DBEEA4B}" destId="{4630E9EA-F781-43B3-829A-AB2FC349089E}" srcOrd="0" destOrd="0" presId="urn:microsoft.com/office/officeart/2005/8/layout/default"/>
    <dgm:cxn modelId="{8845D4E9-F137-445E-924D-1C70143CF2CB}" type="presParOf" srcId="{5524FF92-2862-47B3-A115-24409DBEEA4B}" destId="{7C44EF22-6EFF-47BF-AEC5-4C83EB524757}" srcOrd="1" destOrd="0" presId="urn:microsoft.com/office/officeart/2005/8/layout/default"/>
    <dgm:cxn modelId="{96B41FB9-248C-474D-8265-A27E6B2CDD56}" type="presParOf" srcId="{5524FF92-2862-47B3-A115-24409DBEEA4B}" destId="{BD97CCB2-F31E-4DDF-AFD3-EF4B5825DD12}" srcOrd="2" destOrd="0" presId="urn:microsoft.com/office/officeart/2005/8/layout/default"/>
    <dgm:cxn modelId="{007BC65F-9E4E-4FAB-AF96-4AD5DE6C8552}" type="presParOf" srcId="{5524FF92-2862-47B3-A115-24409DBEEA4B}" destId="{7919CE83-EB86-4FE9-A6B0-54CBC17E8A09}" srcOrd="3" destOrd="0" presId="urn:microsoft.com/office/officeart/2005/8/layout/default"/>
    <dgm:cxn modelId="{12B58E48-E96D-41D2-BAEF-4981ACD4D4A7}" type="presParOf" srcId="{5524FF92-2862-47B3-A115-24409DBEEA4B}" destId="{8546C0DA-4224-4E4F-9743-062B4B74601F}" srcOrd="4" destOrd="0" presId="urn:microsoft.com/office/officeart/2005/8/layout/default"/>
    <dgm:cxn modelId="{5C74894A-6028-4DAF-B9E7-BA3A84A7FD60}" type="presParOf" srcId="{5524FF92-2862-47B3-A115-24409DBEEA4B}" destId="{2A6004A5-6429-4D89-96BE-728B9A94BE31}" srcOrd="5" destOrd="0" presId="urn:microsoft.com/office/officeart/2005/8/layout/default"/>
    <dgm:cxn modelId="{210DBD4D-D28A-46A0-8519-1894ECD8EC1F}" type="presParOf" srcId="{5524FF92-2862-47B3-A115-24409DBEEA4B}" destId="{8F24D968-AD9D-4410-A854-E0FAB883C91A}" srcOrd="6" destOrd="0" presId="urn:microsoft.com/office/officeart/2005/8/layout/default"/>
    <dgm:cxn modelId="{B80F5326-3A95-4770-9FB2-71A7B39C1E25}" type="presParOf" srcId="{5524FF92-2862-47B3-A115-24409DBEEA4B}" destId="{C837CE88-180B-4A4F-A909-C39CC87D8ABC}" srcOrd="7" destOrd="0" presId="urn:microsoft.com/office/officeart/2005/8/layout/default"/>
    <dgm:cxn modelId="{9B986E1B-56E5-45AC-85C0-596FE6BD32B6}" type="presParOf" srcId="{5524FF92-2862-47B3-A115-24409DBEEA4B}" destId="{6C7C9E59-2E62-45B7-9B39-3199CFED7B6D}" srcOrd="8" destOrd="0" presId="urn:microsoft.com/office/officeart/2005/8/layout/default"/>
    <dgm:cxn modelId="{03A24070-5148-4EB1-8434-58112F550E5A}" type="presParOf" srcId="{5524FF92-2862-47B3-A115-24409DBEEA4B}" destId="{93AB1F58-A479-4F36-B168-1D626449EEB3}" srcOrd="9" destOrd="0" presId="urn:microsoft.com/office/officeart/2005/8/layout/default"/>
    <dgm:cxn modelId="{D82614E4-9D11-4C4D-9A33-171CBA995EFE}" type="presParOf" srcId="{5524FF92-2862-47B3-A115-24409DBEEA4B}" destId="{8B22DDCA-D47D-43DF-87EB-E5EFC12F1349}" srcOrd="10" destOrd="0" presId="urn:microsoft.com/office/officeart/2005/8/layout/default"/>
    <dgm:cxn modelId="{0EBAB720-4ACA-4891-A81F-CD4A3A402CDB}" type="presParOf" srcId="{5524FF92-2862-47B3-A115-24409DBEEA4B}" destId="{80AFDF3E-970A-4286-A406-692F97D52ABC}" srcOrd="11" destOrd="0" presId="urn:microsoft.com/office/officeart/2005/8/layout/default"/>
    <dgm:cxn modelId="{C6AA5EEE-4B74-4BE3-A002-19765A477FC3}" type="presParOf" srcId="{5524FF92-2862-47B3-A115-24409DBEEA4B}" destId="{3E6D7D42-5557-4A68-A9D2-51626666F2A7}" srcOrd="12" destOrd="0" presId="urn:microsoft.com/office/officeart/2005/8/layout/default"/>
    <dgm:cxn modelId="{E14B72AE-4B32-4B36-925D-256991EFF010}" type="presParOf" srcId="{5524FF92-2862-47B3-A115-24409DBEEA4B}" destId="{693516BA-DE0C-4270-9D38-530F62904C5A}" srcOrd="13" destOrd="0" presId="urn:microsoft.com/office/officeart/2005/8/layout/default"/>
    <dgm:cxn modelId="{93F2A6DF-BD85-49A0-AE95-921537CF0604}" type="presParOf" srcId="{5524FF92-2862-47B3-A115-24409DBEEA4B}" destId="{C5F4C569-1797-4DAA-A2AD-39B953ED3457}" srcOrd="1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ABE0649-8318-42FB-8645-29AB3D3BD54A}" type="doc">
      <dgm:prSet loTypeId="urn:microsoft.com/office/officeart/2018/2/layout/IconVerticalSolidList" loCatId="icon" qsTypeId="urn:microsoft.com/office/officeart/2005/8/quickstyle/simple1" qsCatId="simple" csTypeId="urn:microsoft.com/office/officeart/2018/5/colors/Iconchunking_neutralbg_colorful5" csCatId="colorful" phldr="1"/>
      <dgm:spPr/>
      <dgm:t>
        <a:bodyPr/>
        <a:lstStyle/>
        <a:p>
          <a:endParaRPr lang="en-US"/>
        </a:p>
      </dgm:t>
    </dgm:pt>
    <dgm:pt modelId="{F2836A16-8F3A-4C71-BE08-22C4612F2A84}">
      <dgm:prSet/>
      <dgm:spPr/>
      <dgm:t>
        <a:bodyPr/>
        <a:lstStyle/>
        <a:p>
          <a:r>
            <a:rPr lang="en-US"/>
            <a:t>Mentorship programs</a:t>
          </a:r>
        </a:p>
      </dgm:t>
    </dgm:pt>
    <dgm:pt modelId="{E5C667E6-8F96-49FD-8D22-21464F1454DB}" type="parTrans" cxnId="{32E8318D-F564-4CAC-BE73-7C4BB533879D}">
      <dgm:prSet/>
      <dgm:spPr/>
      <dgm:t>
        <a:bodyPr/>
        <a:lstStyle/>
        <a:p>
          <a:endParaRPr lang="en-US"/>
        </a:p>
      </dgm:t>
    </dgm:pt>
    <dgm:pt modelId="{5EB7CB18-D411-4A8D-9785-2EA8D29453B1}" type="sibTrans" cxnId="{32E8318D-F564-4CAC-BE73-7C4BB533879D}">
      <dgm:prSet/>
      <dgm:spPr/>
      <dgm:t>
        <a:bodyPr/>
        <a:lstStyle/>
        <a:p>
          <a:endParaRPr lang="en-US"/>
        </a:p>
      </dgm:t>
    </dgm:pt>
    <dgm:pt modelId="{1A26C440-284E-46FE-B9AB-D10B453C098F}">
      <dgm:prSet/>
      <dgm:spPr/>
      <dgm:t>
        <a:bodyPr/>
        <a:lstStyle/>
        <a:p>
          <a:r>
            <a:rPr lang="en-US"/>
            <a:t>Regular formal and informal performance reviews </a:t>
          </a:r>
        </a:p>
      </dgm:t>
    </dgm:pt>
    <dgm:pt modelId="{CBBCD8DF-D4DB-4434-879A-E6942C866D63}" type="parTrans" cxnId="{CE9F607E-A0E1-490E-A7C4-B1F0B7CC7B47}">
      <dgm:prSet/>
      <dgm:spPr/>
      <dgm:t>
        <a:bodyPr/>
        <a:lstStyle/>
        <a:p>
          <a:endParaRPr lang="en-US"/>
        </a:p>
      </dgm:t>
    </dgm:pt>
    <dgm:pt modelId="{DC4308F6-0982-4F28-A7DC-E0EAE0D72F16}" type="sibTrans" cxnId="{CE9F607E-A0E1-490E-A7C4-B1F0B7CC7B47}">
      <dgm:prSet/>
      <dgm:spPr/>
      <dgm:t>
        <a:bodyPr/>
        <a:lstStyle/>
        <a:p>
          <a:endParaRPr lang="en-US"/>
        </a:p>
      </dgm:t>
    </dgm:pt>
    <dgm:pt modelId="{23903BA4-28F1-4D5E-B1A8-C98B0AEC6C57}">
      <dgm:prSet/>
      <dgm:spPr/>
      <dgm:t>
        <a:bodyPr/>
        <a:lstStyle/>
        <a:p>
          <a:r>
            <a:rPr lang="en-US"/>
            <a:t>Customized career paths</a:t>
          </a:r>
        </a:p>
      </dgm:t>
    </dgm:pt>
    <dgm:pt modelId="{8880BF23-0637-43B4-BEDC-70C4140B7775}" type="parTrans" cxnId="{7428CFBC-71C9-47DB-AFBD-5BDDEA32C423}">
      <dgm:prSet/>
      <dgm:spPr/>
      <dgm:t>
        <a:bodyPr/>
        <a:lstStyle/>
        <a:p>
          <a:endParaRPr lang="en-US"/>
        </a:p>
      </dgm:t>
    </dgm:pt>
    <dgm:pt modelId="{6D8353AF-0A72-4EC8-9D57-FED2146E5C20}" type="sibTrans" cxnId="{7428CFBC-71C9-47DB-AFBD-5BDDEA32C423}">
      <dgm:prSet/>
      <dgm:spPr/>
      <dgm:t>
        <a:bodyPr/>
        <a:lstStyle/>
        <a:p>
          <a:endParaRPr lang="en-US"/>
        </a:p>
      </dgm:t>
    </dgm:pt>
    <dgm:pt modelId="{BD6CD526-BB1D-4C26-AF04-1F545173958D}">
      <dgm:prSet/>
      <dgm:spPr/>
      <dgm:t>
        <a:bodyPr/>
        <a:lstStyle/>
        <a:p>
          <a:r>
            <a:rPr lang="en-US"/>
            <a:t>Cross Training Opportunities</a:t>
          </a:r>
        </a:p>
      </dgm:t>
    </dgm:pt>
    <dgm:pt modelId="{399EC690-8D0B-4306-8262-6ABFE7E85AE9}" type="parTrans" cxnId="{16B9DFA7-E3EF-4BE3-A400-B1AA3C2E5583}">
      <dgm:prSet/>
      <dgm:spPr/>
      <dgm:t>
        <a:bodyPr/>
        <a:lstStyle/>
        <a:p>
          <a:endParaRPr lang="en-US"/>
        </a:p>
      </dgm:t>
    </dgm:pt>
    <dgm:pt modelId="{F68058F1-25A8-4712-80CC-B3F7006BEC2A}" type="sibTrans" cxnId="{16B9DFA7-E3EF-4BE3-A400-B1AA3C2E5583}">
      <dgm:prSet/>
      <dgm:spPr/>
      <dgm:t>
        <a:bodyPr/>
        <a:lstStyle/>
        <a:p>
          <a:endParaRPr lang="en-US"/>
        </a:p>
      </dgm:t>
    </dgm:pt>
    <dgm:pt modelId="{FFBD65B0-9FA2-4311-B108-108B15455D84}">
      <dgm:prSet/>
      <dgm:spPr/>
      <dgm:t>
        <a:bodyPr/>
        <a:lstStyle/>
        <a:p>
          <a:r>
            <a:rPr lang="en-US"/>
            <a:t>Enhance employee engagement</a:t>
          </a:r>
        </a:p>
      </dgm:t>
    </dgm:pt>
    <dgm:pt modelId="{CAEC32BF-4E89-4E6F-BAF0-D36C104F6FDC}" type="parTrans" cxnId="{F6ECE986-69F8-4E95-880B-C35BF88FB10A}">
      <dgm:prSet/>
      <dgm:spPr/>
      <dgm:t>
        <a:bodyPr/>
        <a:lstStyle/>
        <a:p>
          <a:endParaRPr lang="en-US"/>
        </a:p>
      </dgm:t>
    </dgm:pt>
    <dgm:pt modelId="{3DA70463-D9D2-4A8A-A13D-939680EDF11F}" type="sibTrans" cxnId="{F6ECE986-69F8-4E95-880B-C35BF88FB10A}">
      <dgm:prSet/>
      <dgm:spPr/>
      <dgm:t>
        <a:bodyPr/>
        <a:lstStyle/>
        <a:p>
          <a:endParaRPr lang="en-US"/>
        </a:p>
      </dgm:t>
    </dgm:pt>
    <dgm:pt modelId="{A385C906-570F-432B-AF63-1C3DFA46309E}">
      <dgm:prSet/>
      <dgm:spPr/>
      <dgm:t>
        <a:bodyPr/>
        <a:lstStyle/>
        <a:p>
          <a:r>
            <a:rPr lang="en-US"/>
            <a:t>Regular review of compensation and benefits packages</a:t>
          </a:r>
        </a:p>
      </dgm:t>
    </dgm:pt>
    <dgm:pt modelId="{A5CF872B-63F3-48D8-95E8-096D1D5EB5F6}" type="parTrans" cxnId="{E9557370-3287-4B41-BD3D-A23368E3DD2A}">
      <dgm:prSet/>
      <dgm:spPr/>
      <dgm:t>
        <a:bodyPr/>
        <a:lstStyle/>
        <a:p>
          <a:endParaRPr lang="en-US"/>
        </a:p>
      </dgm:t>
    </dgm:pt>
    <dgm:pt modelId="{67CED7D6-6173-49C0-AE97-0B4A170632C3}" type="sibTrans" cxnId="{E9557370-3287-4B41-BD3D-A23368E3DD2A}">
      <dgm:prSet/>
      <dgm:spPr/>
      <dgm:t>
        <a:bodyPr/>
        <a:lstStyle/>
        <a:p>
          <a:endParaRPr lang="en-US"/>
        </a:p>
      </dgm:t>
    </dgm:pt>
    <dgm:pt modelId="{06098108-FB06-42E1-A5C0-666189986041}">
      <dgm:prSet/>
      <dgm:spPr/>
      <dgm:t>
        <a:bodyPr/>
        <a:lstStyle/>
        <a:p>
          <a:r>
            <a:rPr lang="en-US"/>
            <a:t>Promote positive environment and work life balance, flexibility</a:t>
          </a:r>
        </a:p>
      </dgm:t>
    </dgm:pt>
    <dgm:pt modelId="{5744C20E-620D-4FB7-9A03-199B8BC9087C}" type="parTrans" cxnId="{FBE2A29F-7CC7-4EEA-8A3E-30CA336FEE11}">
      <dgm:prSet/>
      <dgm:spPr/>
      <dgm:t>
        <a:bodyPr/>
        <a:lstStyle/>
        <a:p>
          <a:endParaRPr lang="en-US"/>
        </a:p>
      </dgm:t>
    </dgm:pt>
    <dgm:pt modelId="{112F9941-DF3F-40E4-9C0D-2CC60A939F4A}" type="sibTrans" cxnId="{FBE2A29F-7CC7-4EEA-8A3E-30CA336FEE11}">
      <dgm:prSet/>
      <dgm:spPr/>
      <dgm:t>
        <a:bodyPr/>
        <a:lstStyle/>
        <a:p>
          <a:endParaRPr lang="en-US"/>
        </a:p>
      </dgm:t>
    </dgm:pt>
    <dgm:pt modelId="{0C043385-7E09-44AB-A16F-E778E3CC2F4C}" type="pres">
      <dgm:prSet presAssocID="{CABE0649-8318-42FB-8645-29AB3D3BD54A}" presName="root" presStyleCnt="0">
        <dgm:presLayoutVars>
          <dgm:dir/>
          <dgm:resizeHandles val="exact"/>
        </dgm:presLayoutVars>
      </dgm:prSet>
      <dgm:spPr/>
    </dgm:pt>
    <dgm:pt modelId="{6A657C77-C4CA-4582-BF30-29A552A57C9A}" type="pres">
      <dgm:prSet presAssocID="{F2836A16-8F3A-4C71-BE08-22C4612F2A84}" presName="compNode" presStyleCnt="0"/>
      <dgm:spPr/>
    </dgm:pt>
    <dgm:pt modelId="{C4EFB10E-FCF0-4116-A308-6AE73E2DC855}" type="pres">
      <dgm:prSet presAssocID="{F2836A16-8F3A-4C71-BE08-22C4612F2A84}" presName="bgRect" presStyleLbl="bgShp" presStyleIdx="0" presStyleCnt="7"/>
      <dgm:spPr/>
    </dgm:pt>
    <dgm:pt modelId="{D882E35E-2856-492F-BF18-853B8FC523CC}" type="pres">
      <dgm:prSet presAssocID="{F2836A16-8F3A-4C71-BE08-22C4612F2A84}" presName="iconRect" presStyleLbl="node1" presStyleIdx="0" presStyleCnt="7"/>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Handshake"/>
        </a:ext>
      </dgm:extLst>
    </dgm:pt>
    <dgm:pt modelId="{FC56758D-7DB1-4B24-AD77-1EA7E34D9FF1}" type="pres">
      <dgm:prSet presAssocID="{F2836A16-8F3A-4C71-BE08-22C4612F2A84}" presName="spaceRect" presStyleCnt="0"/>
      <dgm:spPr/>
    </dgm:pt>
    <dgm:pt modelId="{EB4E4F7A-5D45-4BB6-8221-E499DEFDEDC0}" type="pres">
      <dgm:prSet presAssocID="{F2836A16-8F3A-4C71-BE08-22C4612F2A84}" presName="parTx" presStyleLbl="revTx" presStyleIdx="0" presStyleCnt="7">
        <dgm:presLayoutVars>
          <dgm:chMax val="0"/>
          <dgm:chPref val="0"/>
        </dgm:presLayoutVars>
      </dgm:prSet>
      <dgm:spPr/>
    </dgm:pt>
    <dgm:pt modelId="{2698087E-0283-4314-B430-4084B6087E9E}" type="pres">
      <dgm:prSet presAssocID="{5EB7CB18-D411-4A8D-9785-2EA8D29453B1}" presName="sibTrans" presStyleCnt="0"/>
      <dgm:spPr/>
    </dgm:pt>
    <dgm:pt modelId="{C173023A-F5CD-4F59-B536-C5297462F92F}" type="pres">
      <dgm:prSet presAssocID="{1A26C440-284E-46FE-B9AB-D10B453C098F}" presName="compNode" presStyleCnt="0"/>
      <dgm:spPr/>
    </dgm:pt>
    <dgm:pt modelId="{A6A70791-86AC-4944-B738-E217E0CDDC85}" type="pres">
      <dgm:prSet presAssocID="{1A26C440-284E-46FE-B9AB-D10B453C098F}" presName="bgRect" presStyleLbl="bgShp" presStyleIdx="1" presStyleCnt="7"/>
      <dgm:spPr/>
    </dgm:pt>
    <dgm:pt modelId="{D42C5EDF-C77B-4F74-9B7F-ED50BF887A6A}" type="pres">
      <dgm:prSet presAssocID="{1A26C440-284E-46FE-B9AB-D10B453C098F}" presName="iconRect" presStyleLbl="node1" presStyleIdx="1" presStyleCnt="7"/>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hat"/>
        </a:ext>
      </dgm:extLst>
    </dgm:pt>
    <dgm:pt modelId="{5C6F8344-591B-4E89-8EB8-2AE506175DB7}" type="pres">
      <dgm:prSet presAssocID="{1A26C440-284E-46FE-B9AB-D10B453C098F}" presName="spaceRect" presStyleCnt="0"/>
      <dgm:spPr/>
    </dgm:pt>
    <dgm:pt modelId="{4407CC51-D8F2-4095-BB7A-702F60931CE4}" type="pres">
      <dgm:prSet presAssocID="{1A26C440-284E-46FE-B9AB-D10B453C098F}" presName="parTx" presStyleLbl="revTx" presStyleIdx="1" presStyleCnt="7">
        <dgm:presLayoutVars>
          <dgm:chMax val="0"/>
          <dgm:chPref val="0"/>
        </dgm:presLayoutVars>
      </dgm:prSet>
      <dgm:spPr/>
    </dgm:pt>
    <dgm:pt modelId="{E4FD7D43-3403-470D-9833-20240D5B26EA}" type="pres">
      <dgm:prSet presAssocID="{DC4308F6-0982-4F28-A7DC-E0EAE0D72F16}" presName="sibTrans" presStyleCnt="0"/>
      <dgm:spPr/>
    </dgm:pt>
    <dgm:pt modelId="{50CA2E43-0CCD-49BA-8845-6F693C7E1003}" type="pres">
      <dgm:prSet presAssocID="{23903BA4-28F1-4D5E-B1A8-C98B0AEC6C57}" presName="compNode" presStyleCnt="0"/>
      <dgm:spPr/>
    </dgm:pt>
    <dgm:pt modelId="{AA2DADC9-9157-482E-9EA9-9673CF7039B1}" type="pres">
      <dgm:prSet presAssocID="{23903BA4-28F1-4D5E-B1A8-C98B0AEC6C57}" presName="bgRect" presStyleLbl="bgShp" presStyleIdx="2" presStyleCnt="7"/>
      <dgm:spPr/>
    </dgm:pt>
    <dgm:pt modelId="{736C2514-F4ED-4012-8C02-3A41013DE5E5}" type="pres">
      <dgm:prSet presAssocID="{23903BA4-28F1-4D5E-B1A8-C98B0AEC6C57}" presName="iconRect" presStyleLbl="node1" presStyleIdx="2" presStyleCnt="7"/>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Briefcase"/>
        </a:ext>
      </dgm:extLst>
    </dgm:pt>
    <dgm:pt modelId="{62FA609B-7FC9-4976-AC45-6AFAB061D9C4}" type="pres">
      <dgm:prSet presAssocID="{23903BA4-28F1-4D5E-B1A8-C98B0AEC6C57}" presName="spaceRect" presStyleCnt="0"/>
      <dgm:spPr/>
    </dgm:pt>
    <dgm:pt modelId="{4597414D-0D87-4EDC-ABF6-C3B3FD788A67}" type="pres">
      <dgm:prSet presAssocID="{23903BA4-28F1-4D5E-B1A8-C98B0AEC6C57}" presName="parTx" presStyleLbl="revTx" presStyleIdx="2" presStyleCnt="7">
        <dgm:presLayoutVars>
          <dgm:chMax val="0"/>
          <dgm:chPref val="0"/>
        </dgm:presLayoutVars>
      </dgm:prSet>
      <dgm:spPr/>
    </dgm:pt>
    <dgm:pt modelId="{7067DE0E-E83B-4604-AB20-7ABFA13DE3F2}" type="pres">
      <dgm:prSet presAssocID="{6D8353AF-0A72-4EC8-9D57-FED2146E5C20}" presName="sibTrans" presStyleCnt="0"/>
      <dgm:spPr/>
    </dgm:pt>
    <dgm:pt modelId="{5FBB0737-7323-409A-8022-FB6A0177F4C3}" type="pres">
      <dgm:prSet presAssocID="{BD6CD526-BB1D-4C26-AF04-1F545173958D}" presName="compNode" presStyleCnt="0"/>
      <dgm:spPr/>
    </dgm:pt>
    <dgm:pt modelId="{AD2BA81F-5F23-43B3-8FEA-6DA31F66AFDF}" type="pres">
      <dgm:prSet presAssocID="{BD6CD526-BB1D-4C26-AF04-1F545173958D}" presName="bgRect" presStyleLbl="bgShp" presStyleIdx="3" presStyleCnt="7"/>
      <dgm:spPr/>
    </dgm:pt>
    <dgm:pt modelId="{7AAC806C-BF76-4F68-AFD2-E8A12F10B977}" type="pres">
      <dgm:prSet presAssocID="{BD6CD526-BB1D-4C26-AF04-1F545173958D}" presName="iconRect" presStyleLbl="node1" presStyleIdx="3" presStyleCnt="7"/>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Teacher"/>
        </a:ext>
      </dgm:extLst>
    </dgm:pt>
    <dgm:pt modelId="{6A464D86-2097-4808-8FCF-C1B805AFE1BD}" type="pres">
      <dgm:prSet presAssocID="{BD6CD526-BB1D-4C26-AF04-1F545173958D}" presName="spaceRect" presStyleCnt="0"/>
      <dgm:spPr/>
    </dgm:pt>
    <dgm:pt modelId="{72C45938-816E-4A4B-A29D-5EEBF987A2A6}" type="pres">
      <dgm:prSet presAssocID="{BD6CD526-BB1D-4C26-AF04-1F545173958D}" presName="parTx" presStyleLbl="revTx" presStyleIdx="3" presStyleCnt="7">
        <dgm:presLayoutVars>
          <dgm:chMax val="0"/>
          <dgm:chPref val="0"/>
        </dgm:presLayoutVars>
      </dgm:prSet>
      <dgm:spPr/>
    </dgm:pt>
    <dgm:pt modelId="{C0A13AD4-BF6B-4711-9955-CB5630760A9B}" type="pres">
      <dgm:prSet presAssocID="{F68058F1-25A8-4712-80CC-B3F7006BEC2A}" presName="sibTrans" presStyleCnt="0"/>
      <dgm:spPr/>
    </dgm:pt>
    <dgm:pt modelId="{B571F645-637A-4F6E-8FA7-BF9E55625677}" type="pres">
      <dgm:prSet presAssocID="{FFBD65B0-9FA2-4311-B108-108B15455D84}" presName="compNode" presStyleCnt="0"/>
      <dgm:spPr/>
    </dgm:pt>
    <dgm:pt modelId="{8E4308C3-7914-43AD-8691-83D71337D87F}" type="pres">
      <dgm:prSet presAssocID="{FFBD65B0-9FA2-4311-B108-108B15455D84}" presName="bgRect" presStyleLbl="bgShp" presStyleIdx="4" presStyleCnt="7"/>
      <dgm:spPr/>
    </dgm:pt>
    <dgm:pt modelId="{70FE73B4-53BF-442C-9916-CA2AD3BC98AB}" type="pres">
      <dgm:prSet presAssocID="{FFBD65B0-9FA2-4311-B108-108B15455D84}" presName="iconRect" presStyleLbl="node1" presStyleIdx="4" presStyleCnt="7"/>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Upward trend"/>
        </a:ext>
      </dgm:extLst>
    </dgm:pt>
    <dgm:pt modelId="{9C6F4A88-CD31-4A39-8E84-520E37A8A232}" type="pres">
      <dgm:prSet presAssocID="{FFBD65B0-9FA2-4311-B108-108B15455D84}" presName="spaceRect" presStyleCnt="0"/>
      <dgm:spPr/>
    </dgm:pt>
    <dgm:pt modelId="{59613CF5-38C1-4CD5-BF63-2CF6C980DDD7}" type="pres">
      <dgm:prSet presAssocID="{FFBD65B0-9FA2-4311-B108-108B15455D84}" presName="parTx" presStyleLbl="revTx" presStyleIdx="4" presStyleCnt="7">
        <dgm:presLayoutVars>
          <dgm:chMax val="0"/>
          <dgm:chPref val="0"/>
        </dgm:presLayoutVars>
      </dgm:prSet>
      <dgm:spPr/>
    </dgm:pt>
    <dgm:pt modelId="{3813C6F7-214A-48FC-A825-2854072BAD84}" type="pres">
      <dgm:prSet presAssocID="{3DA70463-D9D2-4A8A-A13D-939680EDF11F}" presName="sibTrans" presStyleCnt="0"/>
      <dgm:spPr/>
    </dgm:pt>
    <dgm:pt modelId="{AEE9CBD5-2686-4259-A543-AD85E2D1CD7D}" type="pres">
      <dgm:prSet presAssocID="{A385C906-570F-432B-AF63-1C3DFA46309E}" presName="compNode" presStyleCnt="0"/>
      <dgm:spPr/>
    </dgm:pt>
    <dgm:pt modelId="{31108C43-A80F-47EC-9042-861D61EE1861}" type="pres">
      <dgm:prSet presAssocID="{A385C906-570F-432B-AF63-1C3DFA46309E}" presName="bgRect" presStyleLbl="bgShp" presStyleIdx="5" presStyleCnt="7"/>
      <dgm:spPr/>
    </dgm:pt>
    <dgm:pt modelId="{CFD4583E-7722-4942-A794-A5E223A9EBBC}" type="pres">
      <dgm:prSet presAssocID="{A385C906-570F-432B-AF63-1C3DFA46309E}" presName="iconRect" presStyleLbl="node1" presStyleIdx="5" presStyleCnt="7"/>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Money"/>
        </a:ext>
      </dgm:extLst>
    </dgm:pt>
    <dgm:pt modelId="{557C5E69-C0D2-40FF-88BB-C060504D3AB9}" type="pres">
      <dgm:prSet presAssocID="{A385C906-570F-432B-AF63-1C3DFA46309E}" presName="spaceRect" presStyleCnt="0"/>
      <dgm:spPr/>
    </dgm:pt>
    <dgm:pt modelId="{1C4A72EB-B1BD-45CC-9DFA-87DBFDEA310F}" type="pres">
      <dgm:prSet presAssocID="{A385C906-570F-432B-AF63-1C3DFA46309E}" presName="parTx" presStyleLbl="revTx" presStyleIdx="5" presStyleCnt="7">
        <dgm:presLayoutVars>
          <dgm:chMax val="0"/>
          <dgm:chPref val="0"/>
        </dgm:presLayoutVars>
      </dgm:prSet>
      <dgm:spPr/>
    </dgm:pt>
    <dgm:pt modelId="{F4333AB1-1DA4-4584-BB36-B891E4EC163B}" type="pres">
      <dgm:prSet presAssocID="{67CED7D6-6173-49C0-AE97-0B4A170632C3}" presName="sibTrans" presStyleCnt="0"/>
      <dgm:spPr/>
    </dgm:pt>
    <dgm:pt modelId="{C78A6BEF-8D54-4402-8ED3-5927B80A6CA5}" type="pres">
      <dgm:prSet presAssocID="{06098108-FB06-42E1-A5C0-666189986041}" presName="compNode" presStyleCnt="0"/>
      <dgm:spPr/>
    </dgm:pt>
    <dgm:pt modelId="{AB4FE7EE-BE97-448A-BDB7-D44AB53FE53F}" type="pres">
      <dgm:prSet presAssocID="{06098108-FB06-42E1-A5C0-666189986041}" presName="bgRect" presStyleLbl="bgShp" presStyleIdx="6" presStyleCnt="7"/>
      <dgm:spPr/>
    </dgm:pt>
    <dgm:pt modelId="{C72B12D7-9BE8-4232-A0EA-B109F1FBBC01}" type="pres">
      <dgm:prSet presAssocID="{06098108-FB06-42E1-A5C0-666189986041}" presName="iconRect" presStyleLbl="node1" presStyleIdx="6" presStyleCnt="7"/>
      <dgm:spPr>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a:noFill/>
        </a:ln>
      </dgm:spPr>
      <dgm:extLst>
        <a:ext uri="{E40237B7-FDA0-4F09-8148-C483321AD2D9}">
          <dgm14:cNvPr xmlns:dgm14="http://schemas.microsoft.com/office/drawing/2010/diagram" id="0" name="" descr="Scales of Justice"/>
        </a:ext>
      </dgm:extLst>
    </dgm:pt>
    <dgm:pt modelId="{1AB4965E-05CA-40B2-8051-03ACC2F3B758}" type="pres">
      <dgm:prSet presAssocID="{06098108-FB06-42E1-A5C0-666189986041}" presName="spaceRect" presStyleCnt="0"/>
      <dgm:spPr/>
    </dgm:pt>
    <dgm:pt modelId="{C16EEAA6-C33F-433E-9675-B9B94503E16E}" type="pres">
      <dgm:prSet presAssocID="{06098108-FB06-42E1-A5C0-666189986041}" presName="parTx" presStyleLbl="revTx" presStyleIdx="6" presStyleCnt="7">
        <dgm:presLayoutVars>
          <dgm:chMax val="0"/>
          <dgm:chPref val="0"/>
        </dgm:presLayoutVars>
      </dgm:prSet>
      <dgm:spPr/>
    </dgm:pt>
  </dgm:ptLst>
  <dgm:cxnLst>
    <dgm:cxn modelId="{5696BB46-35F4-4E27-A7D7-AC637C3EA82A}" type="presOf" srcId="{23903BA4-28F1-4D5E-B1A8-C98B0AEC6C57}" destId="{4597414D-0D87-4EDC-ABF6-C3B3FD788A67}" srcOrd="0" destOrd="0" presId="urn:microsoft.com/office/officeart/2018/2/layout/IconVerticalSolidList"/>
    <dgm:cxn modelId="{65F73F4A-D50B-4A33-86AA-3F1E26963262}" type="presOf" srcId="{BD6CD526-BB1D-4C26-AF04-1F545173958D}" destId="{72C45938-816E-4A4B-A29D-5EEBF987A2A6}" srcOrd="0" destOrd="0" presId="urn:microsoft.com/office/officeart/2018/2/layout/IconVerticalSolidList"/>
    <dgm:cxn modelId="{E9557370-3287-4B41-BD3D-A23368E3DD2A}" srcId="{CABE0649-8318-42FB-8645-29AB3D3BD54A}" destId="{A385C906-570F-432B-AF63-1C3DFA46309E}" srcOrd="5" destOrd="0" parTransId="{A5CF872B-63F3-48D8-95E8-096D1D5EB5F6}" sibTransId="{67CED7D6-6173-49C0-AE97-0B4A170632C3}"/>
    <dgm:cxn modelId="{CE9F607E-A0E1-490E-A7C4-B1F0B7CC7B47}" srcId="{CABE0649-8318-42FB-8645-29AB3D3BD54A}" destId="{1A26C440-284E-46FE-B9AB-D10B453C098F}" srcOrd="1" destOrd="0" parTransId="{CBBCD8DF-D4DB-4434-879A-E6942C866D63}" sibTransId="{DC4308F6-0982-4F28-A7DC-E0EAE0D72F16}"/>
    <dgm:cxn modelId="{F6ECE986-69F8-4E95-880B-C35BF88FB10A}" srcId="{CABE0649-8318-42FB-8645-29AB3D3BD54A}" destId="{FFBD65B0-9FA2-4311-B108-108B15455D84}" srcOrd="4" destOrd="0" parTransId="{CAEC32BF-4E89-4E6F-BAF0-D36C104F6FDC}" sibTransId="{3DA70463-D9D2-4A8A-A13D-939680EDF11F}"/>
    <dgm:cxn modelId="{32E8318D-F564-4CAC-BE73-7C4BB533879D}" srcId="{CABE0649-8318-42FB-8645-29AB3D3BD54A}" destId="{F2836A16-8F3A-4C71-BE08-22C4612F2A84}" srcOrd="0" destOrd="0" parTransId="{E5C667E6-8F96-49FD-8D22-21464F1454DB}" sibTransId="{5EB7CB18-D411-4A8D-9785-2EA8D29453B1}"/>
    <dgm:cxn modelId="{78ECA997-EB6C-4590-99B9-B16BFA3B141E}" type="presOf" srcId="{F2836A16-8F3A-4C71-BE08-22C4612F2A84}" destId="{EB4E4F7A-5D45-4BB6-8221-E499DEFDEDC0}" srcOrd="0" destOrd="0" presId="urn:microsoft.com/office/officeart/2018/2/layout/IconVerticalSolidList"/>
    <dgm:cxn modelId="{FBE2A29F-7CC7-4EEA-8A3E-30CA336FEE11}" srcId="{CABE0649-8318-42FB-8645-29AB3D3BD54A}" destId="{06098108-FB06-42E1-A5C0-666189986041}" srcOrd="6" destOrd="0" parTransId="{5744C20E-620D-4FB7-9A03-199B8BC9087C}" sibTransId="{112F9941-DF3F-40E4-9C0D-2CC60A939F4A}"/>
    <dgm:cxn modelId="{41D02FA5-3212-4688-A81A-223BE559CCB9}" type="presOf" srcId="{FFBD65B0-9FA2-4311-B108-108B15455D84}" destId="{59613CF5-38C1-4CD5-BF63-2CF6C980DDD7}" srcOrd="0" destOrd="0" presId="urn:microsoft.com/office/officeart/2018/2/layout/IconVerticalSolidList"/>
    <dgm:cxn modelId="{16B9DFA7-E3EF-4BE3-A400-B1AA3C2E5583}" srcId="{CABE0649-8318-42FB-8645-29AB3D3BD54A}" destId="{BD6CD526-BB1D-4C26-AF04-1F545173958D}" srcOrd="3" destOrd="0" parTransId="{399EC690-8D0B-4306-8262-6ABFE7E85AE9}" sibTransId="{F68058F1-25A8-4712-80CC-B3F7006BEC2A}"/>
    <dgm:cxn modelId="{52F39FB0-6EA1-4151-B2FE-038EAE370F8B}" type="presOf" srcId="{A385C906-570F-432B-AF63-1C3DFA46309E}" destId="{1C4A72EB-B1BD-45CC-9DFA-87DBFDEA310F}" srcOrd="0" destOrd="0" presId="urn:microsoft.com/office/officeart/2018/2/layout/IconVerticalSolidList"/>
    <dgm:cxn modelId="{7428CFBC-71C9-47DB-AFBD-5BDDEA32C423}" srcId="{CABE0649-8318-42FB-8645-29AB3D3BD54A}" destId="{23903BA4-28F1-4D5E-B1A8-C98B0AEC6C57}" srcOrd="2" destOrd="0" parTransId="{8880BF23-0637-43B4-BEDC-70C4140B7775}" sibTransId="{6D8353AF-0A72-4EC8-9D57-FED2146E5C20}"/>
    <dgm:cxn modelId="{28B480E4-623B-45F0-A72D-6710E6AC3D96}" type="presOf" srcId="{06098108-FB06-42E1-A5C0-666189986041}" destId="{C16EEAA6-C33F-433E-9675-B9B94503E16E}" srcOrd="0" destOrd="0" presId="urn:microsoft.com/office/officeart/2018/2/layout/IconVerticalSolidList"/>
    <dgm:cxn modelId="{0F54C6FA-7FAD-4FDF-AE3D-A445D61F7CEE}" type="presOf" srcId="{CABE0649-8318-42FB-8645-29AB3D3BD54A}" destId="{0C043385-7E09-44AB-A16F-E778E3CC2F4C}" srcOrd="0" destOrd="0" presId="urn:microsoft.com/office/officeart/2018/2/layout/IconVerticalSolidList"/>
    <dgm:cxn modelId="{E909E9FD-2A06-43CC-BE1E-AA5F050355F7}" type="presOf" srcId="{1A26C440-284E-46FE-B9AB-D10B453C098F}" destId="{4407CC51-D8F2-4095-BB7A-702F60931CE4}" srcOrd="0" destOrd="0" presId="urn:microsoft.com/office/officeart/2018/2/layout/IconVerticalSolidList"/>
    <dgm:cxn modelId="{05E772CA-9705-4D02-B0D4-E7D24FEA94D4}" type="presParOf" srcId="{0C043385-7E09-44AB-A16F-E778E3CC2F4C}" destId="{6A657C77-C4CA-4582-BF30-29A552A57C9A}" srcOrd="0" destOrd="0" presId="urn:microsoft.com/office/officeart/2018/2/layout/IconVerticalSolidList"/>
    <dgm:cxn modelId="{EEA66B83-683E-43AE-AD78-E394B0779123}" type="presParOf" srcId="{6A657C77-C4CA-4582-BF30-29A552A57C9A}" destId="{C4EFB10E-FCF0-4116-A308-6AE73E2DC855}" srcOrd="0" destOrd="0" presId="urn:microsoft.com/office/officeart/2018/2/layout/IconVerticalSolidList"/>
    <dgm:cxn modelId="{C1A36FD8-0BDB-4DDD-8D81-375B99531563}" type="presParOf" srcId="{6A657C77-C4CA-4582-BF30-29A552A57C9A}" destId="{D882E35E-2856-492F-BF18-853B8FC523CC}" srcOrd="1" destOrd="0" presId="urn:microsoft.com/office/officeart/2018/2/layout/IconVerticalSolidList"/>
    <dgm:cxn modelId="{6C2B2074-AD7D-4D5C-95B6-453CF89FA128}" type="presParOf" srcId="{6A657C77-C4CA-4582-BF30-29A552A57C9A}" destId="{FC56758D-7DB1-4B24-AD77-1EA7E34D9FF1}" srcOrd="2" destOrd="0" presId="urn:microsoft.com/office/officeart/2018/2/layout/IconVerticalSolidList"/>
    <dgm:cxn modelId="{AA40A1B2-D87E-477B-BC66-91176440C67A}" type="presParOf" srcId="{6A657C77-C4CA-4582-BF30-29A552A57C9A}" destId="{EB4E4F7A-5D45-4BB6-8221-E499DEFDEDC0}" srcOrd="3" destOrd="0" presId="urn:microsoft.com/office/officeart/2018/2/layout/IconVerticalSolidList"/>
    <dgm:cxn modelId="{2A4BDD58-7CEF-4B4B-88FE-DF70E37BB756}" type="presParOf" srcId="{0C043385-7E09-44AB-A16F-E778E3CC2F4C}" destId="{2698087E-0283-4314-B430-4084B6087E9E}" srcOrd="1" destOrd="0" presId="urn:microsoft.com/office/officeart/2018/2/layout/IconVerticalSolidList"/>
    <dgm:cxn modelId="{74096D91-A963-4C04-B209-E72E2488BF05}" type="presParOf" srcId="{0C043385-7E09-44AB-A16F-E778E3CC2F4C}" destId="{C173023A-F5CD-4F59-B536-C5297462F92F}" srcOrd="2" destOrd="0" presId="urn:microsoft.com/office/officeart/2018/2/layout/IconVerticalSolidList"/>
    <dgm:cxn modelId="{59C3A6F5-238D-443C-993E-2C33B3548686}" type="presParOf" srcId="{C173023A-F5CD-4F59-B536-C5297462F92F}" destId="{A6A70791-86AC-4944-B738-E217E0CDDC85}" srcOrd="0" destOrd="0" presId="urn:microsoft.com/office/officeart/2018/2/layout/IconVerticalSolidList"/>
    <dgm:cxn modelId="{089F0134-80F7-46AE-B274-A8D43DEC05B2}" type="presParOf" srcId="{C173023A-F5CD-4F59-B536-C5297462F92F}" destId="{D42C5EDF-C77B-4F74-9B7F-ED50BF887A6A}" srcOrd="1" destOrd="0" presId="urn:microsoft.com/office/officeart/2018/2/layout/IconVerticalSolidList"/>
    <dgm:cxn modelId="{C879CF89-E4FE-4131-8B24-D61C66199711}" type="presParOf" srcId="{C173023A-F5CD-4F59-B536-C5297462F92F}" destId="{5C6F8344-591B-4E89-8EB8-2AE506175DB7}" srcOrd="2" destOrd="0" presId="urn:microsoft.com/office/officeart/2018/2/layout/IconVerticalSolidList"/>
    <dgm:cxn modelId="{766CB515-D740-4DA6-8F5C-55BAA2F5938B}" type="presParOf" srcId="{C173023A-F5CD-4F59-B536-C5297462F92F}" destId="{4407CC51-D8F2-4095-BB7A-702F60931CE4}" srcOrd="3" destOrd="0" presId="urn:microsoft.com/office/officeart/2018/2/layout/IconVerticalSolidList"/>
    <dgm:cxn modelId="{DFEAE7BF-2DE5-41BB-B780-EDFC25806A69}" type="presParOf" srcId="{0C043385-7E09-44AB-A16F-E778E3CC2F4C}" destId="{E4FD7D43-3403-470D-9833-20240D5B26EA}" srcOrd="3" destOrd="0" presId="urn:microsoft.com/office/officeart/2018/2/layout/IconVerticalSolidList"/>
    <dgm:cxn modelId="{019CF8F5-9D01-44D6-A9A0-A6B8894E20CC}" type="presParOf" srcId="{0C043385-7E09-44AB-A16F-E778E3CC2F4C}" destId="{50CA2E43-0CCD-49BA-8845-6F693C7E1003}" srcOrd="4" destOrd="0" presId="urn:microsoft.com/office/officeart/2018/2/layout/IconVerticalSolidList"/>
    <dgm:cxn modelId="{63A7715C-876D-468D-AF19-A9AF8262CF57}" type="presParOf" srcId="{50CA2E43-0CCD-49BA-8845-6F693C7E1003}" destId="{AA2DADC9-9157-482E-9EA9-9673CF7039B1}" srcOrd="0" destOrd="0" presId="urn:microsoft.com/office/officeart/2018/2/layout/IconVerticalSolidList"/>
    <dgm:cxn modelId="{55148E93-868A-4A78-8CBF-03AA81A6D898}" type="presParOf" srcId="{50CA2E43-0CCD-49BA-8845-6F693C7E1003}" destId="{736C2514-F4ED-4012-8C02-3A41013DE5E5}" srcOrd="1" destOrd="0" presId="urn:microsoft.com/office/officeart/2018/2/layout/IconVerticalSolidList"/>
    <dgm:cxn modelId="{F2304198-AB81-40D3-95C3-509C6FEF8E04}" type="presParOf" srcId="{50CA2E43-0CCD-49BA-8845-6F693C7E1003}" destId="{62FA609B-7FC9-4976-AC45-6AFAB061D9C4}" srcOrd="2" destOrd="0" presId="urn:microsoft.com/office/officeart/2018/2/layout/IconVerticalSolidList"/>
    <dgm:cxn modelId="{08DBB3FF-8673-4E94-BDFD-C7227C48EB59}" type="presParOf" srcId="{50CA2E43-0CCD-49BA-8845-6F693C7E1003}" destId="{4597414D-0D87-4EDC-ABF6-C3B3FD788A67}" srcOrd="3" destOrd="0" presId="urn:microsoft.com/office/officeart/2018/2/layout/IconVerticalSolidList"/>
    <dgm:cxn modelId="{2418F7F0-92CF-4BD4-8571-63174915977B}" type="presParOf" srcId="{0C043385-7E09-44AB-A16F-E778E3CC2F4C}" destId="{7067DE0E-E83B-4604-AB20-7ABFA13DE3F2}" srcOrd="5" destOrd="0" presId="urn:microsoft.com/office/officeart/2018/2/layout/IconVerticalSolidList"/>
    <dgm:cxn modelId="{F04849B9-7C9A-4C2C-89C5-968F24CFD176}" type="presParOf" srcId="{0C043385-7E09-44AB-A16F-E778E3CC2F4C}" destId="{5FBB0737-7323-409A-8022-FB6A0177F4C3}" srcOrd="6" destOrd="0" presId="urn:microsoft.com/office/officeart/2018/2/layout/IconVerticalSolidList"/>
    <dgm:cxn modelId="{9FE7D88F-9C9B-4A92-84D3-8F33A4C0A77F}" type="presParOf" srcId="{5FBB0737-7323-409A-8022-FB6A0177F4C3}" destId="{AD2BA81F-5F23-43B3-8FEA-6DA31F66AFDF}" srcOrd="0" destOrd="0" presId="urn:microsoft.com/office/officeart/2018/2/layout/IconVerticalSolidList"/>
    <dgm:cxn modelId="{4CB0925C-5FC8-4560-BD3E-0E949490CDF2}" type="presParOf" srcId="{5FBB0737-7323-409A-8022-FB6A0177F4C3}" destId="{7AAC806C-BF76-4F68-AFD2-E8A12F10B977}" srcOrd="1" destOrd="0" presId="urn:microsoft.com/office/officeart/2018/2/layout/IconVerticalSolidList"/>
    <dgm:cxn modelId="{5F009F3B-AEE9-4F6D-8894-D1221221C8A9}" type="presParOf" srcId="{5FBB0737-7323-409A-8022-FB6A0177F4C3}" destId="{6A464D86-2097-4808-8FCF-C1B805AFE1BD}" srcOrd="2" destOrd="0" presId="urn:microsoft.com/office/officeart/2018/2/layout/IconVerticalSolidList"/>
    <dgm:cxn modelId="{7D32000F-73AF-44B4-A79C-E5CAE760728D}" type="presParOf" srcId="{5FBB0737-7323-409A-8022-FB6A0177F4C3}" destId="{72C45938-816E-4A4B-A29D-5EEBF987A2A6}" srcOrd="3" destOrd="0" presId="urn:microsoft.com/office/officeart/2018/2/layout/IconVerticalSolidList"/>
    <dgm:cxn modelId="{1A2FCAAE-94A0-41E2-9BC4-CAAE17B4C1BE}" type="presParOf" srcId="{0C043385-7E09-44AB-A16F-E778E3CC2F4C}" destId="{C0A13AD4-BF6B-4711-9955-CB5630760A9B}" srcOrd="7" destOrd="0" presId="urn:microsoft.com/office/officeart/2018/2/layout/IconVerticalSolidList"/>
    <dgm:cxn modelId="{5A6DB9A3-54DB-403D-AFB5-0EDF0DBFF4AA}" type="presParOf" srcId="{0C043385-7E09-44AB-A16F-E778E3CC2F4C}" destId="{B571F645-637A-4F6E-8FA7-BF9E55625677}" srcOrd="8" destOrd="0" presId="urn:microsoft.com/office/officeart/2018/2/layout/IconVerticalSolidList"/>
    <dgm:cxn modelId="{F9742ED5-A6CB-4C43-BFE6-47206CCA536F}" type="presParOf" srcId="{B571F645-637A-4F6E-8FA7-BF9E55625677}" destId="{8E4308C3-7914-43AD-8691-83D71337D87F}" srcOrd="0" destOrd="0" presId="urn:microsoft.com/office/officeart/2018/2/layout/IconVerticalSolidList"/>
    <dgm:cxn modelId="{ABDB9809-4D0B-475F-8E57-754DD40C8C05}" type="presParOf" srcId="{B571F645-637A-4F6E-8FA7-BF9E55625677}" destId="{70FE73B4-53BF-442C-9916-CA2AD3BC98AB}" srcOrd="1" destOrd="0" presId="urn:microsoft.com/office/officeart/2018/2/layout/IconVerticalSolidList"/>
    <dgm:cxn modelId="{59289C8C-B8DD-46F2-9D12-3C3F36E93789}" type="presParOf" srcId="{B571F645-637A-4F6E-8FA7-BF9E55625677}" destId="{9C6F4A88-CD31-4A39-8E84-520E37A8A232}" srcOrd="2" destOrd="0" presId="urn:microsoft.com/office/officeart/2018/2/layout/IconVerticalSolidList"/>
    <dgm:cxn modelId="{73E62283-E731-4659-AD81-DACCBB682C77}" type="presParOf" srcId="{B571F645-637A-4F6E-8FA7-BF9E55625677}" destId="{59613CF5-38C1-4CD5-BF63-2CF6C980DDD7}" srcOrd="3" destOrd="0" presId="urn:microsoft.com/office/officeart/2018/2/layout/IconVerticalSolidList"/>
    <dgm:cxn modelId="{C5E992CD-18A8-46B7-828E-1DE07DF17B3E}" type="presParOf" srcId="{0C043385-7E09-44AB-A16F-E778E3CC2F4C}" destId="{3813C6F7-214A-48FC-A825-2854072BAD84}" srcOrd="9" destOrd="0" presId="urn:microsoft.com/office/officeart/2018/2/layout/IconVerticalSolidList"/>
    <dgm:cxn modelId="{C1DDE1D8-E5DB-47AC-B215-641FA139736C}" type="presParOf" srcId="{0C043385-7E09-44AB-A16F-E778E3CC2F4C}" destId="{AEE9CBD5-2686-4259-A543-AD85E2D1CD7D}" srcOrd="10" destOrd="0" presId="urn:microsoft.com/office/officeart/2018/2/layout/IconVerticalSolidList"/>
    <dgm:cxn modelId="{F7BAE6FB-1F35-4778-936E-23895E92C390}" type="presParOf" srcId="{AEE9CBD5-2686-4259-A543-AD85E2D1CD7D}" destId="{31108C43-A80F-47EC-9042-861D61EE1861}" srcOrd="0" destOrd="0" presId="urn:microsoft.com/office/officeart/2018/2/layout/IconVerticalSolidList"/>
    <dgm:cxn modelId="{CC0D1EF7-0481-4174-B47C-90030E1DC01A}" type="presParOf" srcId="{AEE9CBD5-2686-4259-A543-AD85E2D1CD7D}" destId="{CFD4583E-7722-4942-A794-A5E223A9EBBC}" srcOrd="1" destOrd="0" presId="urn:microsoft.com/office/officeart/2018/2/layout/IconVerticalSolidList"/>
    <dgm:cxn modelId="{5EBFC49C-702F-479D-9D45-2FFB22CAF1B1}" type="presParOf" srcId="{AEE9CBD5-2686-4259-A543-AD85E2D1CD7D}" destId="{557C5E69-C0D2-40FF-88BB-C060504D3AB9}" srcOrd="2" destOrd="0" presId="urn:microsoft.com/office/officeart/2018/2/layout/IconVerticalSolidList"/>
    <dgm:cxn modelId="{92ACC4B6-F87A-4950-8609-2F1909ABAD58}" type="presParOf" srcId="{AEE9CBD5-2686-4259-A543-AD85E2D1CD7D}" destId="{1C4A72EB-B1BD-45CC-9DFA-87DBFDEA310F}" srcOrd="3" destOrd="0" presId="urn:microsoft.com/office/officeart/2018/2/layout/IconVerticalSolidList"/>
    <dgm:cxn modelId="{0C77C8AE-F3AF-4442-92F3-EC935E6EB6D3}" type="presParOf" srcId="{0C043385-7E09-44AB-A16F-E778E3CC2F4C}" destId="{F4333AB1-1DA4-4584-BB36-B891E4EC163B}" srcOrd="11" destOrd="0" presId="urn:microsoft.com/office/officeart/2018/2/layout/IconVerticalSolidList"/>
    <dgm:cxn modelId="{3760AF9F-AD3B-4CA4-807B-3BCE5267EF4C}" type="presParOf" srcId="{0C043385-7E09-44AB-A16F-E778E3CC2F4C}" destId="{C78A6BEF-8D54-4402-8ED3-5927B80A6CA5}" srcOrd="12" destOrd="0" presId="urn:microsoft.com/office/officeart/2018/2/layout/IconVerticalSolidList"/>
    <dgm:cxn modelId="{D55C78B7-FBD1-43F2-804D-0CE6161AD17C}" type="presParOf" srcId="{C78A6BEF-8D54-4402-8ED3-5927B80A6CA5}" destId="{AB4FE7EE-BE97-448A-BDB7-D44AB53FE53F}" srcOrd="0" destOrd="0" presId="urn:microsoft.com/office/officeart/2018/2/layout/IconVerticalSolidList"/>
    <dgm:cxn modelId="{3560758D-DB4A-41A3-838C-AE934CCE2494}" type="presParOf" srcId="{C78A6BEF-8D54-4402-8ED3-5927B80A6CA5}" destId="{C72B12D7-9BE8-4232-A0EA-B109F1FBBC01}" srcOrd="1" destOrd="0" presId="urn:microsoft.com/office/officeart/2018/2/layout/IconVerticalSolidList"/>
    <dgm:cxn modelId="{949FA1A4-56B4-4FBD-9112-6C3F9B8F233A}" type="presParOf" srcId="{C78A6BEF-8D54-4402-8ED3-5927B80A6CA5}" destId="{1AB4965E-05CA-40B2-8051-03ACC2F3B758}" srcOrd="2" destOrd="0" presId="urn:microsoft.com/office/officeart/2018/2/layout/IconVerticalSolidList"/>
    <dgm:cxn modelId="{701DE083-C9C7-4FE7-9758-FDB4703160D0}" type="presParOf" srcId="{C78A6BEF-8D54-4402-8ED3-5927B80A6CA5}" destId="{C16EEAA6-C33F-433E-9675-B9B94503E16E}"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4D53CB5-BBBD-4CCE-89B1-DB6911676C45}" type="doc">
      <dgm:prSet loTypeId="urn:microsoft.com/office/officeart/2018/5/layout/IconCircleLabelList" loCatId="icon" qsTypeId="urn:microsoft.com/office/officeart/2005/8/quickstyle/simple1" qsCatId="simple" csTypeId="urn:microsoft.com/office/officeart/2018/5/colors/Iconchunking_neutralicon_colorful1" csCatId="colorful" phldr="1"/>
      <dgm:spPr/>
      <dgm:t>
        <a:bodyPr/>
        <a:lstStyle/>
        <a:p>
          <a:endParaRPr lang="en-US"/>
        </a:p>
      </dgm:t>
    </dgm:pt>
    <dgm:pt modelId="{BC836D1F-5B8C-4FAE-8C3A-676293899BD2}">
      <dgm:prSet/>
      <dgm:spPr/>
      <dgm:t>
        <a:bodyPr/>
        <a:lstStyle/>
        <a:p>
          <a:pPr>
            <a:defRPr cap="all"/>
          </a:pPr>
          <a:r>
            <a:rPr lang="en-US"/>
            <a:t>Learning Systems </a:t>
          </a:r>
        </a:p>
      </dgm:t>
    </dgm:pt>
    <dgm:pt modelId="{DD978B12-E0E0-4391-91DA-60EEBF49E17C}" type="parTrans" cxnId="{1873B414-AF97-4C77-A0D4-55109A2D9D38}">
      <dgm:prSet/>
      <dgm:spPr/>
      <dgm:t>
        <a:bodyPr/>
        <a:lstStyle/>
        <a:p>
          <a:endParaRPr lang="en-US"/>
        </a:p>
      </dgm:t>
    </dgm:pt>
    <dgm:pt modelId="{02F82778-A3EF-4B63-AAA5-0647F03CB629}" type="sibTrans" cxnId="{1873B414-AF97-4C77-A0D4-55109A2D9D38}">
      <dgm:prSet/>
      <dgm:spPr/>
      <dgm:t>
        <a:bodyPr/>
        <a:lstStyle/>
        <a:p>
          <a:endParaRPr lang="en-US"/>
        </a:p>
      </dgm:t>
    </dgm:pt>
    <dgm:pt modelId="{7DBFD55A-278C-4CFC-BAE5-3F332805894F}">
      <dgm:prSet/>
      <dgm:spPr/>
      <dgm:t>
        <a:bodyPr/>
        <a:lstStyle/>
        <a:p>
          <a:pPr>
            <a:defRPr cap="all"/>
          </a:pPr>
          <a:r>
            <a:rPr lang="en-US"/>
            <a:t>Professional Organizations</a:t>
          </a:r>
        </a:p>
      </dgm:t>
    </dgm:pt>
    <dgm:pt modelId="{6F5634CB-11E6-4DF4-BB4E-7BF9218CB617}" type="parTrans" cxnId="{9393DA0D-6BCA-4D84-82FE-2984848D5353}">
      <dgm:prSet/>
      <dgm:spPr/>
      <dgm:t>
        <a:bodyPr/>
        <a:lstStyle/>
        <a:p>
          <a:endParaRPr lang="en-US"/>
        </a:p>
      </dgm:t>
    </dgm:pt>
    <dgm:pt modelId="{06CA1222-B633-4CE7-A538-221D2D531716}" type="sibTrans" cxnId="{9393DA0D-6BCA-4D84-82FE-2984848D5353}">
      <dgm:prSet/>
      <dgm:spPr/>
      <dgm:t>
        <a:bodyPr/>
        <a:lstStyle/>
        <a:p>
          <a:endParaRPr lang="en-US"/>
        </a:p>
      </dgm:t>
    </dgm:pt>
    <dgm:pt modelId="{A53AC273-4C28-493D-820A-38CFC6202FD5}">
      <dgm:prSet/>
      <dgm:spPr/>
      <dgm:t>
        <a:bodyPr/>
        <a:lstStyle/>
        <a:p>
          <a:pPr>
            <a:defRPr cap="all"/>
          </a:pPr>
          <a:r>
            <a:rPr lang="en-US"/>
            <a:t>Tuition Reimbursement Programs</a:t>
          </a:r>
        </a:p>
      </dgm:t>
    </dgm:pt>
    <dgm:pt modelId="{B33CA3CD-DE21-4A64-AC1F-00C644F1BF9E}" type="parTrans" cxnId="{43167F7C-6375-4CB7-8269-F56D6057CD7B}">
      <dgm:prSet/>
      <dgm:spPr/>
      <dgm:t>
        <a:bodyPr/>
        <a:lstStyle/>
        <a:p>
          <a:endParaRPr lang="en-US"/>
        </a:p>
      </dgm:t>
    </dgm:pt>
    <dgm:pt modelId="{5115288E-58D3-4B6E-932F-1E20AB39A9B3}" type="sibTrans" cxnId="{43167F7C-6375-4CB7-8269-F56D6057CD7B}">
      <dgm:prSet/>
      <dgm:spPr/>
      <dgm:t>
        <a:bodyPr/>
        <a:lstStyle/>
        <a:p>
          <a:endParaRPr lang="en-US"/>
        </a:p>
      </dgm:t>
    </dgm:pt>
    <dgm:pt modelId="{A53D9174-3E80-46A4-B9DB-798BAE6EB897}">
      <dgm:prSet/>
      <dgm:spPr/>
      <dgm:t>
        <a:bodyPr/>
        <a:lstStyle/>
        <a:p>
          <a:pPr>
            <a:defRPr cap="all"/>
          </a:pPr>
          <a:r>
            <a:rPr lang="en-US"/>
            <a:t>Internal Mobility Programs</a:t>
          </a:r>
        </a:p>
      </dgm:t>
    </dgm:pt>
    <dgm:pt modelId="{0E3D9C19-9810-41CD-98DF-B612C842826E}" type="parTrans" cxnId="{9BE36818-9E48-43A1-81C3-3C3F2D20510F}">
      <dgm:prSet/>
      <dgm:spPr/>
      <dgm:t>
        <a:bodyPr/>
        <a:lstStyle/>
        <a:p>
          <a:endParaRPr lang="en-US"/>
        </a:p>
      </dgm:t>
    </dgm:pt>
    <dgm:pt modelId="{A7CA8409-E48A-4A87-8A46-D74066FCD670}" type="sibTrans" cxnId="{9BE36818-9E48-43A1-81C3-3C3F2D20510F}">
      <dgm:prSet/>
      <dgm:spPr/>
      <dgm:t>
        <a:bodyPr/>
        <a:lstStyle/>
        <a:p>
          <a:endParaRPr lang="en-US"/>
        </a:p>
      </dgm:t>
    </dgm:pt>
    <dgm:pt modelId="{643788CC-C405-4FF4-ADD6-23997291252E}">
      <dgm:prSet/>
      <dgm:spPr/>
      <dgm:t>
        <a:bodyPr/>
        <a:lstStyle/>
        <a:p>
          <a:pPr>
            <a:defRPr cap="all"/>
          </a:pPr>
          <a:r>
            <a:rPr lang="en-US"/>
            <a:t>Career Development Plans</a:t>
          </a:r>
        </a:p>
      </dgm:t>
    </dgm:pt>
    <dgm:pt modelId="{B84DA097-5161-41F5-915A-983BAA88D63E}" type="parTrans" cxnId="{8BC62391-65FB-4478-8AD0-5E989B5FA149}">
      <dgm:prSet/>
      <dgm:spPr/>
      <dgm:t>
        <a:bodyPr/>
        <a:lstStyle/>
        <a:p>
          <a:endParaRPr lang="en-US"/>
        </a:p>
      </dgm:t>
    </dgm:pt>
    <dgm:pt modelId="{21E58C4F-B9B2-49C7-A64E-8E156A457F4C}" type="sibTrans" cxnId="{8BC62391-65FB-4478-8AD0-5E989B5FA149}">
      <dgm:prSet/>
      <dgm:spPr/>
      <dgm:t>
        <a:bodyPr/>
        <a:lstStyle/>
        <a:p>
          <a:endParaRPr lang="en-US"/>
        </a:p>
      </dgm:t>
    </dgm:pt>
    <dgm:pt modelId="{0706A76E-A0B8-45CB-BF09-07F1302D9AB0}" type="pres">
      <dgm:prSet presAssocID="{74D53CB5-BBBD-4CCE-89B1-DB6911676C45}" presName="root" presStyleCnt="0">
        <dgm:presLayoutVars>
          <dgm:dir/>
          <dgm:resizeHandles val="exact"/>
        </dgm:presLayoutVars>
      </dgm:prSet>
      <dgm:spPr/>
    </dgm:pt>
    <dgm:pt modelId="{5A2F02B1-4409-493A-A241-764D60C27264}" type="pres">
      <dgm:prSet presAssocID="{BC836D1F-5B8C-4FAE-8C3A-676293899BD2}" presName="compNode" presStyleCnt="0"/>
      <dgm:spPr/>
    </dgm:pt>
    <dgm:pt modelId="{EF389210-AF33-44A1-A546-E3DEC40FEF58}" type="pres">
      <dgm:prSet presAssocID="{BC836D1F-5B8C-4FAE-8C3A-676293899BD2}" presName="iconBgRect" presStyleLbl="bgShp" presStyleIdx="0" presStyleCnt="5"/>
      <dgm:spPr/>
    </dgm:pt>
    <dgm:pt modelId="{04FB34F2-38A3-479D-AD1F-BF70FF9B94F1}" type="pres">
      <dgm:prSet presAssocID="{BC836D1F-5B8C-4FAE-8C3A-676293899BD2}"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omputer"/>
        </a:ext>
      </dgm:extLst>
    </dgm:pt>
    <dgm:pt modelId="{6F9A2627-F456-4533-930F-B537FBCD5B1C}" type="pres">
      <dgm:prSet presAssocID="{BC836D1F-5B8C-4FAE-8C3A-676293899BD2}" presName="spaceRect" presStyleCnt="0"/>
      <dgm:spPr/>
    </dgm:pt>
    <dgm:pt modelId="{F44C38E2-4EA6-4FA8-A671-E5AEBE419DF5}" type="pres">
      <dgm:prSet presAssocID="{BC836D1F-5B8C-4FAE-8C3A-676293899BD2}" presName="textRect" presStyleLbl="revTx" presStyleIdx="0" presStyleCnt="5">
        <dgm:presLayoutVars>
          <dgm:chMax val="1"/>
          <dgm:chPref val="1"/>
        </dgm:presLayoutVars>
      </dgm:prSet>
      <dgm:spPr/>
    </dgm:pt>
    <dgm:pt modelId="{8F086CAB-6296-4AE6-9FE8-ACF7CE67EA81}" type="pres">
      <dgm:prSet presAssocID="{02F82778-A3EF-4B63-AAA5-0647F03CB629}" presName="sibTrans" presStyleCnt="0"/>
      <dgm:spPr/>
    </dgm:pt>
    <dgm:pt modelId="{73D6E8A5-D220-4D0C-9C6A-67066094CF63}" type="pres">
      <dgm:prSet presAssocID="{7DBFD55A-278C-4CFC-BAE5-3F332805894F}" presName="compNode" presStyleCnt="0"/>
      <dgm:spPr/>
    </dgm:pt>
    <dgm:pt modelId="{E33C1773-95FA-4F93-A2F7-B9084E6F0F38}" type="pres">
      <dgm:prSet presAssocID="{7DBFD55A-278C-4CFC-BAE5-3F332805894F}" presName="iconBgRect" presStyleLbl="bgShp" presStyleIdx="1" presStyleCnt="5"/>
      <dgm:spPr/>
    </dgm:pt>
    <dgm:pt modelId="{47FFD807-DC2F-4BCA-9825-0F5E237ABB68}" type="pres">
      <dgm:prSet presAssocID="{7DBFD55A-278C-4CFC-BAE5-3F332805894F}"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eting"/>
        </a:ext>
      </dgm:extLst>
    </dgm:pt>
    <dgm:pt modelId="{FEB82616-8E04-4B25-B927-74268D39E3F0}" type="pres">
      <dgm:prSet presAssocID="{7DBFD55A-278C-4CFC-BAE5-3F332805894F}" presName="spaceRect" presStyleCnt="0"/>
      <dgm:spPr/>
    </dgm:pt>
    <dgm:pt modelId="{6439C299-EEA7-42A5-81BD-00A4CB340A74}" type="pres">
      <dgm:prSet presAssocID="{7DBFD55A-278C-4CFC-BAE5-3F332805894F}" presName="textRect" presStyleLbl="revTx" presStyleIdx="1" presStyleCnt="5">
        <dgm:presLayoutVars>
          <dgm:chMax val="1"/>
          <dgm:chPref val="1"/>
        </dgm:presLayoutVars>
      </dgm:prSet>
      <dgm:spPr/>
    </dgm:pt>
    <dgm:pt modelId="{36F73A4B-55C2-4AC4-BA0A-B644002C43DE}" type="pres">
      <dgm:prSet presAssocID="{06CA1222-B633-4CE7-A538-221D2D531716}" presName="sibTrans" presStyleCnt="0"/>
      <dgm:spPr/>
    </dgm:pt>
    <dgm:pt modelId="{C8930D2D-FA74-48E3-BD4D-B657D1845234}" type="pres">
      <dgm:prSet presAssocID="{A53AC273-4C28-493D-820A-38CFC6202FD5}" presName="compNode" presStyleCnt="0"/>
      <dgm:spPr/>
    </dgm:pt>
    <dgm:pt modelId="{7BB98386-4742-4AEB-B92F-E25002913332}" type="pres">
      <dgm:prSet presAssocID="{A53AC273-4C28-493D-820A-38CFC6202FD5}" presName="iconBgRect" presStyleLbl="bgShp" presStyleIdx="2" presStyleCnt="5"/>
      <dgm:spPr/>
    </dgm:pt>
    <dgm:pt modelId="{CBCBA222-A26B-4A7B-9558-192377A2853A}" type="pres">
      <dgm:prSet presAssocID="{A53AC273-4C28-493D-820A-38CFC6202FD5}"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Money"/>
        </a:ext>
      </dgm:extLst>
    </dgm:pt>
    <dgm:pt modelId="{1832BB6C-E913-4916-B28C-7EADD881D436}" type="pres">
      <dgm:prSet presAssocID="{A53AC273-4C28-493D-820A-38CFC6202FD5}" presName="spaceRect" presStyleCnt="0"/>
      <dgm:spPr/>
    </dgm:pt>
    <dgm:pt modelId="{29E89FF0-7A35-4510-9B02-D589B3EC0796}" type="pres">
      <dgm:prSet presAssocID="{A53AC273-4C28-493D-820A-38CFC6202FD5}" presName="textRect" presStyleLbl="revTx" presStyleIdx="2" presStyleCnt="5">
        <dgm:presLayoutVars>
          <dgm:chMax val="1"/>
          <dgm:chPref val="1"/>
        </dgm:presLayoutVars>
      </dgm:prSet>
      <dgm:spPr/>
    </dgm:pt>
    <dgm:pt modelId="{5FF30CA5-4F92-46DC-AB5F-C72A4BD3368C}" type="pres">
      <dgm:prSet presAssocID="{5115288E-58D3-4B6E-932F-1E20AB39A9B3}" presName="sibTrans" presStyleCnt="0"/>
      <dgm:spPr/>
    </dgm:pt>
    <dgm:pt modelId="{21C8A1F7-224E-4895-A19D-DFB9D051C1D7}" type="pres">
      <dgm:prSet presAssocID="{A53D9174-3E80-46A4-B9DB-798BAE6EB897}" presName="compNode" presStyleCnt="0"/>
      <dgm:spPr/>
    </dgm:pt>
    <dgm:pt modelId="{BABF8EB7-7953-4C11-A69C-CF11E71E3A7E}" type="pres">
      <dgm:prSet presAssocID="{A53D9174-3E80-46A4-B9DB-798BAE6EB897}" presName="iconBgRect" presStyleLbl="bgShp" presStyleIdx="3" presStyleCnt="5"/>
      <dgm:spPr/>
    </dgm:pt>
    <dgm:pt modelId="{BCC5C44E-7A7E-477C-81D8-F950B436F8D4}" type="pres">
      <dgm:prSet presAssocID="{A53D9174-3E80-46A4-B9DB-798BAE6EB897}"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Car"/>
        </a:ext>
      </dgm:extLst>
    </dgm:pt>
    <dgm:pt modelId="{8671C630-4D7F-4A2A-AC28-5E2D5BB3C395}" type="pres">
      <dgm:prSet presAssocID="{A53D9174-3E80-46A4-B9DB-798BAE6EB897}" presName="spaceRect" presStyleCnt="0"/>
      <dgm:spPr/>
    </dgm:pt>
    <dgm:pt modelId="{53961101-76DB-4EBE-B405-CCF803E89DDD}" type="pres">
      <dgm:prSet presAssocID="{A53D9174-3E80-46A4-B9DB-798BAE6EB897}" presName="textRect" presStyleLbl="revTx" presStyleIdx="3" presStyleCnt="5">
        <dgm:presLayoutVars>
          <dgm:chMax val="1"/>
          <dgm:chPref val="1"/>
        </dgm:presLayoutVars>
      </dgm:prSet>
      <dgm:spPr/>
    </dgm:pt>
    <dgm:pt modelId="{D2ACD8CB-33EA-4DDF-A806-39129020D890}" type="pres">
      <dgm:prSet presAssocID="{A7CA8409-E48A-4A87-8A46-D74066FCD670}" presName="sibTrans" presStyleCnt="0"/>
      <dgm:spPr/>
    </dgm:pt>
    <dgm:pt modelId="{A745F88D-416F-4ADC-AAE3-00BBB99D4395}" type="pres">
      <dgm:prSet presAssocID="{643788CC-C405-4FF4-ADD6-23997291252E}" presName="compNode" presStyleCnt="0"/>
      <dgm:spPr/>
    </dgm:pt>
    <dgm:pt modelId="{FFF42496-2A04-4CFD-B364-9DF0CA4C8687}" type="pres">
      <dgm:prSet presAssocID="{643788CC-C405-4FF4-ADD6-23997291252E}" presName="iconBgRect" presStyleLbl="bgShp" presStyleIdx="4" presStyleCnt="5"/>
      <dgm:spPr/>
    </dgm:pt>
    <dgm:pt modelId="{E26D7DE3-73A8-4E84-AFDF-1B98CD071D3E}" type="pres">
      <dgm:prSet presAssocID="{643788CC-C405-4FF4-ADD6-23997291252E}"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Head with Gears"/>
        </a:ext>
      </dgm:extLst>
    </dgm:pt>
    <dgm:pt modelId="{AB8BE6E0-C330-4BEB-921A-83216DD4E693}" type="pres">
      <dgm:prSet presAssocID="{643788CC-C405-4FF4-ADD6-23997291252E}" presName="spaceRect" presStyleCnt="0"/>
      <dgm:spPr/>
    </dgm:pt>
    <dgm:pt modelId="{5E5D1116-A523-46D1-BEFE-9A4F4BD4A42A}" type="pres">
      <dgm:prSet presAssocID="{643788CC-C405-4FF4-ADD6-23997291252E}" presName="textRect" presStyleLbl="revTx" presStyleIdx="4" presStyleCnt="5">
        <dgm:presLayoutVars>
          <dgm:chMax val="1"/>
          <dgm:chPref val="1"/>
        </dgm:presLayoutVars>
      </dgm:prSet>
      <dgm:spPr/>
    </dgm:pt>
  </dgm:ptLst>
  <dgm:cxnLst>
    <dgm:cxn modelId="{9393DA0D-6BCA-4D84-82FE-2984848D5353}" srcId="{74D53CB5-BBBD-4CCE-89B1-DB6911676C45}" destId="{7DBFD55A-278C-4CFC-BAE5-3F332805894F}" srcOrd="1" destOrd="0" parTransId="{6F5634CB-11E6-4DF4-BB4E-7BF9218CB617}" sibTransId="{06CA1222-B633-4CE7-A538-221D2D531716}"/>
    <dgm:cxn modelId="{1873B414-AF97-4C77-A0D4-55109A2D9D38}" srcId="{74D53CB5-BBBD-4CCE-89B1-DB6911676C45}" destId="{BC836D1F-5B8C-4FAE-8C3A-676293899BD2}" srcOrd="0" destOrd="0" parTransId="{DD978B12-E0E0-4391-91DA-60EEBF49E17C}" sibTransId="{02F82778-A3EF-4B63-AAA5-0647F03CB629}"/>
    <dgm:cxn modelId="{9BE36818-9E48-43A1-81C3-3C3F2D20510F}" srcId="{74D53CB5-BBBD-4CCE-89B1-DB6911676C45}" destId="{A53D9174-3E80-46A4-B9DB-798BAE6EB897}" srcOrd="3" destOrd="0" parTransId="{0E3D9C19-9810-41CD-98DF-B612C842826E}" sibTransId="{A7CA8409-E48A-4A87-8A46-D74066FCD670}"/>
    <dgm:cxn modelId="{49AB2D1C-C130-435F-8D63-4B95C4AB5399}" type="presOf" srcId="{7DBFD55A-278C-4CFC-BAE5-3F332805894F}" destId="{6439C299-EEA7-42A5-81BD-00A4CB340A74}" srcOrd="0" destOrd="0" presId="urn:microsoft.com/office/officeart/2018/5/layout/IconCircleLabelList"/>
    <dgm:cxn modelId="{4B9FB221-21B6-4A32-8F2C-FB9F1BB67257}" type="presOf" srcId="{74D53CB5-BBBD-4CCE-89B1-DB6911676C45}" destId="{0706A76E-A0B8-45CB-BF09-07F1302D9AB0}" srcOrd="0" destOrd="0" presId="urn:microsoft.com/office/officeart/2018/5/layout/IconCircleLabelList"/>
    <dgm:cxn modelId="{BAECE436-6F51-4ADC-AEEE-33A576E7F1C1}" type="presOf" srcId="{A53AC273-4C28-493D-820A-38CFC6202FD5}" destId="{29E89FF0-7A35-4510-9B02-D589B3EC0796}" srcOrd="0" destOrd="0" presId="urn:microsoft.com/office/officeart/2018/5/layout/IconCircleLabelList"/>
    <dgm:cxn modelId="{F8762B39-BBBD-4892-808E-F84336648040}" type="presOf" srcId="{A53D9174-3E80-46A4-B9DB-798BAE6EB897}" destId="{53961101-76DB-4EBE-B405-CCF803E89DDD}" srcOrd="0" destOrd="0" presId="urn:microsoft.com/office/officeart/2018/5/layout/IconCircleLabelList"/>
    <dgm:cxn modelId="{43167F7C-6375-4CB7-8269-F56D6057CD7B}" srcId="{74D53CB5-BBBD-4CCE-89B1-DB6911676C45}" destId="{A53AC273-4C28-493D-820A-38CFC6202FD5}" srcOrd="2" destOrd="0" parTransId="{B33CA3CD-DE21-4A64-AC1F-00C644F1BF9E}" sibTransId="{5115288E-58D3-4B6E-932F-1E20AB39A9B3}"/>
    <dgm:cxn modelId="{8BC62391-65FB-4478-8AD0-5E989B5FA149}" srcId="{74D53CB5-BBBD-4CCE-89B1-DB6911676C45}" destId="{643788CC-C405-4FF4-ADD6-23997291252E}" srcOrd="4" destOrd="0" parTransId="{B84DA097-5161-41F5-915A-983BAA88D63E}" sibTransId="{21E58C4F-B9B2-49C7-A64E-8E156A457F4C}"/>
    <dgm:cxn modelId="{46DE64A9-3A04-43AF-B35A-6BFF72880132}" type="presOf" srcId="{643788CC-C405-4FF4-ADD6-23997291252E}" destId="{5E5D1116-A523-46D1-BEFE-9A4F4BD4A42A}" srcOrd="0" destOrd="0" presId="urn:microsoft.com/office/officeart/2018/5/layout/IconCircleLabelList"/>
    <dgm:cxn modelId="{B7D254E2-10FF-4A59-A768-5D405DCFC972}" type="presOf" srcId="{BC836D1F-5B8C-4FAE-8C3A-676293899BD2}" destId="{F44C38E2-4EA6-4FA8-A671-E5AEBE419DF5}" srcOrd="0" destOrd="0" presId="urn:microsoft.com/office/officeart/2018/5/layout/IconCircleLabelList"/>
    <dgm:cxn modelId="{53C04395-AA9D-47F5-8000-E68B77B26FE0}" type="presParOf" srcId="{0706A76E-A0B8-45CB-BF09-07F1302D9AB0}" destId="{5A2F02B1-4409-493A-A241-764D60C27264}" srcOrd="0" destOrd="0" presId="urn:microsoft.com/office/officeart/2018/5/layout/IconCircleLabelList"/>
    <dgm:cxn modelId="{5445B689-B9ED-456E-9BB3-B1EF4077BCE6}" type="presParOf" srcId="{5A2F02B1-4409-493A-A241-764D60C27264}" destId="{EF389210-AF33-44A1-A546-E3DEC40FEF58}" srcOrd="0" destOrd="0" presId="urn:microsoft.com/office/officeart/2018/5/layout/IconCircleLabelList"/>
    <dgm:cxn modelId="{3D19A1B8-8900-436A-BB64-359142F295A9}" type="presParOf" srcId="{5A2F02B1-4409-493A-A241-764D60C27264}" destId="{04FB34F2-38A3-479D-AD1F-BF70FF9B94F1}" srcOrd="1" destOrd="0" presId="urn:microsoft.com/office/officeart/2018/5/layout/IconCircleLabelList"/>
    <dgm:cxn modelId="{DDE8E016-20B6-449F-ABB9-0C2D494AFF41}" type="presParOf" srcId="{5A2F02B1-4409-493A-A241-764D60C27264}" destId="{6F9A2627-F456-4533-930F-B537FBCD5B1C}" srcOrd="2" destOrd="0" presId="urn:microsoft.com/office/officeart/2018/5/layout/IconCircleLabelList"/>
    <dgm:cxn modelId="{9AF90E46-566F-42CA-8D7D-F73AAB8048D5}" type="presParOf" srcId="{5A2F02B1-4409-493A-A241-764D60C27264}" destId="{F44C38E2-4EA6-4FA8-A671-E5AEBE419DF5}" srcOrd="3" destOrd="0" presId="urn:microsoft.com/office/officeart/2018/5/layout/IconCircleLabelList"/>
    <dgm:cxn modelId="{D03E4653-8B55-4537-B427-31343D11B01E}" type="presParOf" srcId="{0706A76E-A0B8-45CB-BF09-07F1302D9AB0}" destId="{8F086CAB-6296-4AE6-9FE8-ACF7CE67EA81}" srcOrd="1" destOrd="0" presId="urn:microsoft.com/office/officeart/2018/5/layout/IconCircleLabelList"/>
    <dgm:cxn modelId="{20266446-E5A8-4594-955F-0BC2D37A9BD2}" type="presParOf" srcId="{0706A76E-A0B8-45CB-BF09-07F1302D9AB0}" destId="{73D6E8A5-D220-4D0C-9C6A-67066094CF63}" srcOrd="2" destOrd="0" presId="urn:microsoft.com/office/officeart/2018/5/layout/IconCircleLabelList"/>
    <dgm:cxn modelId="{379A3776-4F72-4E51-8186-21B5578030EC}" type="presParOf" srcId="{73D6E8A5-D220-4D0C-9C6A-67066094CF63}" destId="{E33C1773-95FA-4F93-A2F7-B9084E6F0F38}" srcOrd="0" destOrd="0" presId="urn:microsoft.com/office/officeart/2018/5/layout/IconCircleLabelList"/>
    <dgm:cxn modelId="{C856F552-2A44-4C39-A156-8EF823D1AB32}" type="presParOf" srcId="{73D6E8A5-D220-4D0C-9C6A-67066094CF63}" destId="{47FFD807-DC2F-4BCA-9825-0F5E237ABB68}" srcOrd="1" destOrd="0" presId="urn:microsoft.com/office/officeart/2018/5/layout/IconCircleLabelList"/>
    <dgm:cxn modelId="{5079E820-DF0F-4C48-9E24-163D976C010A}" type="presParOf" srcId="{73D6E8A5-D220-4D0C-9C6A-67066094CF63}" destId="{FEB82616-8E04-4B25-B927-74268D39E3F0}" srcOrd="2" destOrd="0" presId="urn:microsoft.com/office/officeart/2018/5/layout/IconCircleLabelList"/>
    <dgm:cxn modelId="{03C3A2A1-0FB6-48F5-90A9-267F9913857F}" type="presParOf" srcId="{73D6E8A5-D220-4D0C-9C6A-67066094CF63}" destId="{6439C299-EEA7-42A5-81BD-00A4CB340A74}" srcOrd="3" destOrd="0" presId="urn:microsoft.com/office/officeart/2018/5/layout/IconCircleLabelList"/>
    <dgm:cxn modelId="{6CF1CCA4-4260-4C3C-8E06-E18514E86D4B}" type="presParOf" srcId="{0706A76E-A0B8-45CB-BF09-07F1302D9AB0}" destId="{36F73A4B-55C2-4AC4-BA0A-B644002C43DE}" srcOrd="3" destOrd="0" presId="urn:microsoft.com/office/officeart/2018/5/layout/IconCircleLabelList"/>
    <dgm:cxn modelId="{AFACDA38-03E0-4FFA-AD06-939825550C05}" type="presParOf" srcId="{0706A76E-A0B8-45CB-BF09-07F1302D9AB0}" destId="{C8930D2D-FA74-48E3-BD4D-B657D1845234}" srcOrd="4" destOrd="0" presId="urn:microsoft.com/office/officeart/2018/5/layout/IconCircleLabelList"/>
    <dgm:cxn modelId="{9C8D9E4C-FB45-4363-BE5E-1EFA7043CD7D}" type="presParOf" srcId="{C8930D2D-FA74-48E3-BD4D-B657D1845234}" destId="{7BB98386-4742-4AEB-B92F-E25002913332}" srcOrd="0" destOrd="0" presId="urn:microsoft.com/office/officeart/2018/5/layout/IconCircleLabelList"/>
    <dgm:cxn modelId="{6C7B550D-92FE-4B69-A37E-FD25F38C9517}" type="presParOf" srcId="{C8930D2D-FA74-48E3-BD4D-B657D1845234}" destId="{CBCBA222-A26B-4A7B-9558-192377A2853A}" srcOrd="1" destOrd="0" presId="urn:microsoft.com/office/officeart/2018/5/layout/IconCircleLabelList"/>
    <dgm:cxn modelId="{7A2352DE-687C-436F-A3EF-99B450F14F99}" type="presParOf" srcId="{C8930D2D-FA74-48E3-BD4D-B657D1845234}" destId="{1832BB6C-E913-4916-B28C-7EADD881D436}" srcOrd="2" destOrd="0" presId="urn:microsoft.com/office/officeart/2018/5/layout/IconCircleLabelList"/>
    <dgm:cxn modelId="{9B76DF16-A227-447F-B271-12B04EC92E0B}" type="presParOf" srcId="{C8930D2D-FA74-48E3-BD4D-B657D1845234}" destId="{29E89FF0-7A35-4510-9B02-D589B3EC0796}" srcOrd="3" destOrd="0" presId="urn:microsoft.com/office/officeart/2018/5/layout/IconCircleLabelList"/>
    <dgm:cxn modelId="{9A73BCD4-F409-4860-AF69-65120969435E}" type="presParOf" srcId="{0706A76E-A0B8-45CB-BF09-07F1302D9AB0}" destId="{5FF30CA5-4F92-46DC-AB5F-C72A4BD3368C}" srcOrd="5" destOrd="0" presId="urn:microsoft.com/office/officeart/2018/5/layout/IconCircleLabelList"/>
    <dgm:cxn modelId="{D9DFA36E-ED16-4D74-9B27-F4CD9EEF4874}" type="presParOf" srcId="{0706A76E-A0B8-45CB-BF09-07F1302D9AB0}" destId="{21C8A1F7-224E-4895-A19D-DFB9D051C1D7}" srcOrd="6" destOrd="0" presId="urn:microsoft.com/office/officeart/2018/5/layout/IconCircleLabelList"/>
    <dgm:cxn modelId="{B730F239-E882-419F-8986-BA9E979B6C75}" type="presParOf" srcId="{21C8A1F7-224E-4895-A19D-DFB9D051C1D7}" destId="{BABF8EB7-7953-4C11-A69C-CF11E71E3A7E}" srcOrd="0" destOrd="0" presId="urn:microsoft.com/office/officeart/2018/5/layout/IconCircleLabelList"/>
    <dgm:cxn modelId="{7468F38E-7AE0-47BE-9D17-514457DB3EFF}" type="presParOf" srcId="{21C8A1F7-224E-4895-A19D-DFB9D051C1D7}" destId="{BCC5C44E-7A7E-477C-81D8-F950B436F8D4}" srcOrd="1" destOrd="0" presId="urn:microsoft.com/office/officeart/2018/5/layout/IconCircleLabelList"/>
    <dgm:cxn modelId="{BF30C35E-7270-4E7B-94B9-AD366BB48264}" type="presParOf" srcId="{21C8A1F7-224E-4895-A19D-DFB9D051C1D7}" destId="{8671C630-4D7F-4A2A-AC28-5E2D5BB3C395}" srcOrd="2" destOrd="0" presId="urn:microsoft.com/office/officeart/2018/5/layout/IconCircleLabelList"/>
    <dgm:cxn modelId="{671AC236-167B-4854-A319-83E35218232B}" type="presParOf" srcId="{21C8A1F7-224E-4895-A19D-DFB9D051C1D7}" destId="{53961101-76DB-4EBE-B405-CCF803E89DDD}" srcOrd="3" destOrd="0" presId="urn:microsoft.com/office/officeart/2018/5/layout/IconCircleLabelList"/>
    <dgm:cxn modelId="{AE0655D2-77BA-4DCC-9324-1A3DFC87EA17}" type="presParOf" srcId="{0706A76E-A0B8-45CB-BF09-07F1302D9AB0}" destId="{D2ACD8CB-33EA-4DDF-A806-39129020D890}" srcOrd="7" destOrd="0" presId="urn:microsoft.com/office/officeart/2018/5/layout/IconCircleLabelList"/>
    <dgm:cxn modelId="{5597FBD6-D811-49D1-B2CC-E191326E006A}" type="presParOf" srcId="{0706A76E-A0B8-45CB-BF09-07F1302D9AB0}" destId="{A745F88D-416F-4ADC-AAE3-00BBB99D4395}" srcOrd="8" destOrd="0" presId="urn:microsoft.com/office/officeart/2018/5/layout/IconCircleLabelList"/>
    <dgm:cxn modelId="{E97FA123-04F6-48ED-A5BB-432078513939}" type="presParOf" srcId="{A745F88D-416F-4ADC-AAE3-00BBB99D4395}" destId="{FFF42496-2A04-4CFD-B364-9DF0CA4C8687}" srcOrd="0" destOrd="0" presId="urn:microsoft.com/office/officeart/2018/5/layout/IconCircleLabelList"/>
    <dgm:cxn modelId="{49B400A5-389A-49AC-A306-DD2067F4CEA5}" type="presParOf" srcId="{A745F88D-416F-4ADC-AAE3-00BBB99D4395}" destId="{E26D7DE3-73A8-4E84-AFDF-1B98CD071D3E}" srcOrd="1" destOrd="0" presId="urn:microsoft.com/office/officeart/2018/5/layout/IconCircleLabelList"/>
    <dgm:cxn modelId="{5FF815D6-F364-4F3B-A9DA-C061EE4266F6}" type="presParOf" srcId="{A745F88D-416F-4ADC-AAE3-00BBB99D4395}" destId="{AB8BE6E0-C330-4BEB-921A-83216DD4E693}" srcOrd="2" destOrd="0" presId="urn:microsoft.com/office/officeart/2018/5/layout/IconCircleLabelList"/>
    <dgm:cxn modelId="{4B635152-539A-4A02-855D-643CC49AAA77}" type="presParOf" srcId="{A745F88D-416F-4ADC-AAE3-00BBB99D4395}" destId="{5E5D1116-A523-46D1-BEFE-9A4F4BD4A42A}" srcOrd="3" destOrd="0" presId="urn:microsoft.com/office/officeart/2018/5/layout/IconCircle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888EAC-015E-4A74-AFFC-BEEDCB7EAEE9}">
      <dsp:nvSpPr>
        <dsp:cNvPr id="0" name=""/>
        <dsp:cNvSpPr/>
      </dsp:nvSpPr>
      <dsp:spPr>
        <a:xfrm>
          <a:off x="692432" y="1505"/>
          <a:ext cx="2769728" cy="780022"/>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40" tIns="198126" rIns="53740" bIns="198126" numCol="1" spcCol="1270" anchor="ctr" anchorCtr="0">
          <a:noAutofit/>
        </a:bodyPr>
        <a:lstStyle/>
        <a:p>
          <a:pPr marL="0" lvl="0" indent="0" algn="l" defTabSz="622300">
            <a:lnSpc>
              <a:spcPct val="90000"/>
            </a:lnSpc>
            <a:spcBef>
              <a:spcPct val="0"/>
            </a:spcBef>
            <a:spcAft>
              <a:spcPct val="35000"/>
            </a:spcAft>
            <a:buNone/>
          </a:pPr>
          <a:r>
            <a:rPr lang="en-US" sz="1400" kern="1200"/>
            <a:t>Shrinking teams: Realigning for efficiency</a:t>
          </a:r>
        </a:p>
      </dsp:txBody>
      <dsp:txXfrm>
        <a:off x="692432" y="1505"/>
        <a:ext cx="2769728" cy="780022"/>
      </dsp:txXfrm>
    </dsp:sp>
    <dsp:sp modelId="{C86D45DE-0411-47E0-A2B3-55DD1096B19C}">
      <dsp:nvSpPr>
        <dsp:cNvPr id="0" name=""/>
        <dsp:cNvSpPr/>
      </dsp:nvSpPr>
      <dsp:spPr>
        <a:xfrm>
          <a:off x="0" y="1505"/>
          <a:ext cx="692432" cy="780022"/>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6641" tIns="77049" rIns="36641" bIns="77049" numCol="1" spcCol="1270" anchor="ctr" anchorCtr="0">
          <a:noAutofit/>
        </a:bodyPr>
        <a:lstStyle/>
        <a:p>
          <a:pPr marL="0" lvl="0" indent="0" algn="ctr" defTabSz="488950">
            <a:lnSpc>
              <a:spcPct val="90000"/>
            </a:lnSpc>
            <a:spcBef>
              <a:spcPct val="0"/>
            </a:spcBef>
            <a:spcAft>
              <a:spcPct val="35000"/>
            </a:spcAft>
            <a:buNone/>
          </a:pPr>
          <a:r>
            <a:rPr lang="en-US" sz="1100" kern="1200"/>
            <a:t>Shrinking</a:t>
          </a:r>
        </a:p>
      </dsp:txBody>
      <dsp:txXfrm>
        <a:off x="0" y="1505"/>
        <a:ext cx="692432" cy="780022"/>
      </dsp:txXfrm>
    </dsp:sp>
    <dsp:sp modelId="{B2D2F224-839C-43F6-AD2F-9A7DA9C3F50A}">
      <dsp:nvSpPr>
        <dsp:cNvPr id="0" name=""/>
        <dsp:cNvSpPr/>
      </dsp:nvSpPr>
      <dsp:spPr>
        <a:xfrm>
          <a:off x="692432" y="828329"/>
          <a:ext cx="2769728" cy="780022"/>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40" tIns="198126" rIns="53740" bIns="198126" numCol="1" spcCol="1270" anchor="ctr" anchorCtr="0">
          <a:noAutofit/>
        </a:bodyPr>
        <a:lstStyle/>
        <a:p>
          <a:pPr marL="0" lvl="0" indent="0" algn="l" defTabSz="622300">
            <a:lnSpc>
              <a:spcPct val="90000"/>
            </a:lnSpc>
            <a:spcBef>
              <a:spcPct val="0"/>
            </a:spcBef>
            <a:spcAft>
              <a:spcPct val="35000"/>
            </a:spcAft>
            <a:buNone/>
          </a:pPr>
          <a:r>
            <a:rPr lang="en-US" sz="1400" kern="1200"/>
            <a:t>Changing roles: Making a lateral move</a:t>
          </a:r>
        </a:p>
      </dsp:txBody>
      <dsp:txXfrm>
        <a:off x="692432" y="828329"/>
        <a:ext cx="2769728" cy="780022"/>
      </dsp:txXfrm>
    </dsp:sp>
    <dsp:sp modelId="{1F8FB829-5274-41AA-AD8A-D1219AA10C99}">
      <dsp:nvSpPr>
        <dsp:cNvPr id="0" name=""/>
        <dsp:cNvSpPr/>
      </dsp:nvSpPr>
      <dsp:spPr>
        <a:xfrm>
          <a:off x="0" y="828329"/>
          <a:ext cx="692432" cy="780022"/>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6641" tIns="77049" rIns="36641" bIns="77049" numCol="1" spcCol="1270" anchor="ctr" anchorCtr="0">
          <a:noAutofit/>
        </a:bodyPr>
        <a:lstStyle/>
        <a:p>
          <a:pPr marL="0" lvl="0" indent="0" algn="ctr" defTabSz="466725">
            <a:lnSpc>
              <a:spcPct val="90000"/>
            </a:lnSpc>
            <a:spcBef>
              <a:spcPct val="0"/>
            </a:spcBef>
            <a:spcAft>
              <a:spcPct val="35000"/>
            </a:spcAft>
            <a:buNone/>
          </a:pPr>
          <a:r>
            <a:rPr lang="en-US" sz="1050" kern="1200"/>
            <a:t>Changing</a:t>
          </a:r>
        </a:p>
      </dsp:txBody>
      <dsp:txXfrm>
        <a:off x="0" y="828329"/>
        <a:ext cx="692432" cy="780022"/>
      </dsp:txXfrm>
    </dsp:sp>
    <dsp:sp modelId="{DF06A400-EE12-425D-AD49-2B39819A3891}">
      <dsp:nvSpPr>
        <dsp:cNvPr id="0" name=""/>
        <dsp:cNvSpPr/>
      </dsp:nvSpPr>
      <dsp:spPr>
        <a:xfrm>
          <a:off x="692432" y="1655152"/>
          <a:ext cx="2769728" cy="780022"/>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40" tIns="198126" rIns="53740" bIns="198126" numCol="1" spcCol="1270" anchor="ctr" anchorCtr="0">
          <a:noAutofit/>
        </a:bodyPr>
        <a:lstStyle/>
        <a:p>
          <a:pPr marL="0" lvl="0" indent="0" algn="l" defTabSz="622300">
            <a:lnSpc>
              <a:spcPct val="90000"/>
            </a:lnSpc>
            <a:spcBef>
              <a:spcPct val="0"/>
            </a:spcBef>
            <a:spcAft>
              <a:spcPct val="35000"/>
            </a:spcAft>
            <a:buNone/>
          </a:pPr>
          <a:r>
            <a:rPr lang="en-US" sz="1400" kern="1200"/>
            <a:t>Growing teams: Finding the right talent </a:t>
          </a:r>
        </a:p>
      </dsp:txBody>
      <dsp:txXfrm>
        <a:off x="692432" y="1655152"/>
        <a:ext cx="2769728" cy="780022"/>
      </dsp:txXfrm>
    </dsp:sp>
    <dsp:sp modelId="{E847D9AD-D73C-40EA-85C0-0661FD548908}">
      <dsp:nvSpPr>
        <dsp:cNvPr id="0" name=""/>
        <dsp:cNvSpPr/>
      </dsp:nvSpPr>
      <dsp:spPr>
        <a:xfrm>
          <a:off x="0" y="1655152"/>
          <a:ext cx="692432" cy="780022"/>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6641" tIns="77049" rIns="36641" bIns="77049" numCol="1" spcCol="1270" anchor="ctr" anchorCtr="0">
          <a:noAutofit/>
        </a:bodyPr>
        <a:lstStyle/>
        <a:p>
          <a:pPr marL="0" lvl="0" indent="0" algn="ctr" defTabSz="444500">
            <a:lnSpc>
              <a:spcPct val="90000"/>
            </a:lnSpc>
            <a:spcBef>
              <a:spcPct val="0"/>
            </a:spcBef>
            <a:spcAft>
              <a:spcPct val="35000"/>
            </a:spcAft>
            <a:buNone/>
          </a:pPr>
          <a:r>
            <a:rPr lang="en-US" sz="1000" kern="1200"/>
            <a:t>Growing</a:t>
          </a:r>
        </a:p>
      </dsp:txBody>
      <dsp:txXfrm>
        <a:off x="0" y="1655152"/>
        <a:ext cx="692432" cy="780022"/>
      </dsp:txXfrm>
    </dsp:sp>
    <dsp:sp modelId="{00E8B977-F1F8-4F4F-8054-E978FD4665BF}">
      <dsp:nvSpPr>
        <dsp:cNvPr id="0" name=""/>
        <dsp:cNvSpPr/>
      </dsp:nvSpPr>
      <dsp:spPr>
        <a:xfrm>
          <a:off x="692432" y="2481976"/>
          <a:ext cx="2769728" cy="780022"/>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40" tIns="198126" rIns="53740" bIns="198126" numCol="1" spcCol="1270" anchor="ctr" anchorCtr="0">
          <a:noAutofit/>
        </a:bodyPr>
        <a:lstStyle/>
        <a:p>
          <a:pPr marL="0" lvl="0" indent="0" algn="l" defTabSz="622300">
            <a:lnSpc>
              <a:spcPct val="90000"/>
            </a:lnSpc>
            <a:spcBef>
              <a:spcPct val="0"/>
            </a:spcBef>
            <a:spcAft>
              <a:spcPct val="35000"/>
            </a:spcAft>
            <a:buNone/>
          </a:pPr>
          <a:r>
            <a:rPr lang="en-US" sz="1400" kern="1200"/>
            <a:t>Retaining teams: Refer to previous page. Challenge and engage!</a:t>
          </a:r>
        </a:p>
      </dsp:txBody>
      <dsp:txXfrm>
        <a:off x="692432" y="2481976"/>
        <a:ext cx="2769728" cy="780022"/>
      </dsp:txXfrm>
    </dsp:sp>
    <dsp:sp modelId="{17827390-BB93-48FF-8476-A2F6B5F2D002}">
      <dsp:nvSpPr>
        <dsp:cNvPr id="0" name=""/>
        <dsp:cNvSpPr/>
      </dsp:nvSpPr>
      <dsp:spPr>
        <a:xfrm>
          <a:off x="0" y="2481976"/>
          <a:ext cx="692432" cy="780022"/>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6641" tIns="77049" rIns="36641" bIns="77049" numCol="1" spcCol="1270" anchor="ctr" anchorCtr="0">
          <a:noAutofit/>
        </a:bodyPr>
        <a:lstStyle/>
        <a:p>
          <a:pPr marL="0" lvl="0" indent="0" algn="ctr" defTabSz="444500">
            <a:lnSpc>
              <a:spcPct val="90000"/>
            </a:lnSpc>
            <a:spcBef>
              <a:spcPct val="0"/>
            </a:spcBef>
            <a:spcAft>
              <a:spcPct val="35000"/>
            </a:spcAft>
            <a:buNone/>
          </a:pPr>
          <a:r>
            <a:rPr lang="en-US" sz="1000" kern="1200"/>
            <a:t>Retaining</a:t>
          </a:r>
        </a:p>
      </dsp:txBody>
      <dsp:txXfrm>
        <a:off x="0" y="2481976"/>
        <a:ext cx="692432" cy="78002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D49C2B0-CFB9-447D-B133-01DB43168BEC}">
      <dsp:nvSpPr>
        <dsp:cNvPr id="0" name=""/>
        <dsp:cNvSpPr/>
      </dsp:nvSpPr>
      <dsp:spPr>
        <a:xfrm>
          <a:off x="2260483" y="574986"/>
          <a:ext cx="120548" cy="1343254"/>
        </a:xfrm>
        <a:custGeom>
          <a:avLst/>
          <a:gdLst/>
          <a:ahLst/>
          <a:cxnLst/>
          <a:rect l="0" t="0" r="0" b="0"/>
          <a:pathLst>
            <a:path>
              <a:moveTo>
                <a:pt x="120548" y="0"/>
              </a:moveTo>
              <a:lnTo>
                <a:pt x="120548" y="1343254"/>
              </a:lnTo>
              <a:lnTo>
                <a:pt x="0" y="134325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496C8C5-2134-4328-BD53-A8392C8B40F6}">
      <dsp:nvSpPr>
        <dsp:cNvPr id="0" name=""/>
        <dsp:cNvSpPr/>
      </dsp:nvSpPr>
      <dsp:spPr>
        <a:xfrm>
          <a:off x="2381032" y="574986"/>
          <a:ext cx="120548" cy="528117"/>
        </a:xfrm>
        <a:custGeom>
          <a:avLst/>
          <a:gdLst/>
          <a:ahLst/>
          <a:cxnLst/>
          <a:rect l="0" t="0" r="0" b="0"/>
          <a:pathLst>
            <a:path>
              <a:moveTo>
                <a:pt x="0" y="0"/>
              </a:moveTo>
              <a:lnTo>
                <a:pt x="0" y="528117"/>
              </a:lnTo>
              <a:lnTo>
                <a:pt x="120548" y="52811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7A612A3-F4A6-407D-BD97-0C5CCCEA14CB}">
      <dsp:nvSpPr>
        <dsp:cNvPr id="0" name=""/>
        <dsp:cNvSpPr/>
      </dsp:nvSpPr>
      <dsp:spPr>
        <a:xfrm>
          <a:off x="2260483" y="574986"/>
          <a:ext cx="120548" cy="528117"/>
        </a:xfrm>
        <a:custGeom>
          <a:avLst/>
          <a:gdLst/>
          <a:ahLst/>
          <a:cxnLst/>
          <a:rect l="0" t="0" r="0" b="0"/>
          <a:pathLst>
            <a:path>
              <a:moveTo>
                <a:pt x="120548" y="0"/>
              </a:moveTo>
              <a:lnTo>
                <a:pt x="120548" y="528117"/>
              </a:lnTo>
              <a:lnTo>
                <a:pt x="0" y="52811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C339D54-4314-4D1D-822A-66EEF26661D9}">
      <dsp:nvSpPr>
        <dsp:cNvPr id="0" name=""/>
        <dsp:cNvSpPr/>
      </dsp:nvSpPr>
      <dsp:spPr>
        <a:xfrm>
          <a:off x="2381032" y="574986"/>
          <a:ext cx="1389177" cy="1871371"/>
        </a:xfrm>
        <a:custGeom>
          <a:avLst/>
          <a:gdLst/>
          <a:ahLst/>
          <a:cxnLst/>
          <a:rect l="0" t="0" r="0" b="0"/>
          <a:pathLst>
            <a:path>
              <a:moveTo>
                <a:pt x="0" y="0"/>
              </a:moveTo>
              <a:lnTo>
                <a:pt x="0" y="1750822"/>
              </a:lnTo>
              <a:lnTo>
                <a:pt x="1389177" y="1750822"/>
              </a:lnTo>
              <a:lnTo>
                <a:pt x="1389177" y="187137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3914CC-6FBF-42FE-9EC8-4BD8BE17F223}">
      <dsp:nvSpPr>
        <dsp:cNvPr id="0" name=""/>
        <dsp:cNvSpPr/>
      </dsp:nvSpPr>
      <dsp:spPr>
        <a:xfrm>
          <a:off x="2335312" y="574986"/>
          <a:ext cx="91440" cy="1871371"/>
        </a:xfrm>
        <a:custGeom>
          <a:avLst/>
          <a:gdLst/>
          <a:ahLst/>
          <a:cxnLst/>
          <a:rect l="0" t="0" r="0" b="0"/>
          <a:pathLst>
            <a:path>
              <a:moveTo>
                <a:pt x="45720" y="0"/>
              </a:moveTo>
              <a:lnTo>
                <a:pt x="45720" y="187137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BEC8CFA-15FA-4C19-9F4A-B25BE5C318E5}">
      <dsp:nvSpPr>
        <dsp:cNvPr id="0" name=""/>
        <dsp:cNvSpPr/>
      </dsp:nvSpPr>
      <dsp:spPr>
        <a:xfrm>
          <a:off x="991854" y="574986"/>
          <a:ext cx="1389177" cy="1871371"/>
        </a:xfrm>
        <a:custGeom>
          <a:avLst/>
          <a:gdLst/>
          <a:ahLst/>
          <a:cxnLst/>
          <a:rect l="0" t="0" r="0" b="0"/>
          <a:pathLst>
            <a:path>
              <a:moveTo>
                <a:pt x="1389177" y="0"/>
              </a:moveTo>
              <a:lnTo>
                <a:pt x="1389177" y="1750822"/>
              </a:lnTo>
              <a:lnTo>
                <a:pt x="0" y="1750822"/>
              </a:lnTo>
              <a:lnTo>
                <a:pt x="0" y="187137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4141CFC-0E15-443C-AE4E-F2E20F49EDF7}">
      <dsp:nvSpPr>
        <dsp:cNvPr id="0" name=""/>
        <dsp:cNvSpPr/>
      </dsp:nvSpPr>
      <dsp:spPr>
        <a:xfrm>
          <a:off x="1806991" y="946"/>
          <a:ext cx="1148080" cy="5740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a:t>Today’s Market   (Client Driven Market)</a:t>
          </a:r>
        </a:p>
      </dsp:txBody>
      <dsp:txXfrm>
        <a:off x="1806991" y="946"/>
        <a:ext cx="1148080" cy="574040"/>
      </dsp:txXfrm>
    </dsp:sp>
    <dsp:sp modelId="{A469CBE1-23FA-4B85-AEAF-D95B82D82DF8}">
      <dsp:nvSpPr>
        <dsp:cNvPr id="0" name=""/>
        <dsp:cNvSpPr/>
      </dsp:nvSpPr>
      <dsp:spPr>
        <a:xfrm>
          <a:off x="417814" y="2446358"/>
          <a:ext cx="1148080" cy="5740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a:t>Target very specific skillsets</a:t>
          </a:r>
        </a:p>
      </dsp:txBody>
      <dsp:txXfrm>
        <a:off x="417814" y="2446358"/>
        <a:ext cx="1148080" cy="574040"/>
      </dsp:txXfrm>
    </dsp:sp>
    <dsp:sp modelId="{800441F0-15EA-4510-9C0A-C859D0E0DC57}">
      <dsp:nvSpPr>
        <dsp:cNvPr id="0" name=""/>
        <dsp:cNvSpPr/>
      </dsp:nvSpPr>
      <dsp:spPr>
        <a:xfrm>
          <a:off x="1806991" y="2446358"/>
          <a:ext cx="1148080" cy="5740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a:t>Heavier workload for the team</a:t>
          </a:r>
        </a:p>
      </dsp:txBody>
      <dsp:txXfrm>
        <a:off x="1806991" y="2446358"/>
        <a:ext cx="1148080" cy="574040"/>
      </dsp:txXfrm>
    </dsp:sp>
    <dsp:sp modelId="{45D2D42E-5C66-4BAD-8496-397D5F42DF8E}">
      <dsp:nvSpPr>
        <dsp:cNvPr id="0" name=""/>
        <dsp:cNvSpPr/>
      </dsp:nvSpPr>
      <dsp:spPr>
        <a:xfrm>
          <a:off x="3196169" y="2446358"/>
          <a:ext cx="1148080" cy="5740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a:t>Less sell, more selective</a:t>
          </a:r>
        </a:p>
      </dsp:txBody>
      <dsp:txXfrm>
        <a:off x="3196169" y="2446358"/>
        <a:ext cx="1148080" cy="574040"/>
      </dsp:txXfrm>
    </dsp:sp>
    <dsp:sp modelId="{0816F75A-842B-4090-A589-9A67F392C2E2}">
      <dsp:nvSpPr>
        <dsp:cNvPr id="0" name=""/>
        <dsp:cNvSpPr/>
      </dsp:nvSpPr>
      <dsp:spPr>
        <a:xfrm>
          <a:off x="1112402" y="816083"/>
          <a:ext cx="1148080" cy="5740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a:t>Less New Roles</a:t>
          </a:r>
        </a:p>
      </dsp:txBody>
      <dsp:txXfrm>
        <a:off x="1112402" y="816083"/>
        <a:ext cx="1148080" cy="574040"/>
      </dsp:txXfrm>
    </dsp:sp>
    <dsp:sp modelId="{305EA77E-504D-4ADC-B68E-9F852829606E}">
      <dsp:nvSpPr>
        <dsp:cNvPr id="0" name=""/>
        <dsp:cNvSpPr/>
      </dsp:nvSpPr>
      <dsp:spPr>
        <a:xfrm>
          <a:off x="2501580" y="816083"/>
          <a:ext cx="1148080" cy="5740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a:t>Candidate Heavy</a:t>
          </a:r>
        </a:p>
      </dsp:txBody>
      <dsp:txXfrm>
        <a:off x="2501580" y="816083"/>
        <a:ext cx="1148080" cy="574040"/>
      </dsp:txXfrm>
    </dsp:sp>
    <dsp:sp modelId="{483A609A-5BD4-4BD9-9AD0-E5ED07FA77DE}">
      <dsp:nvSpPr>
        <dsp:cNvPr id="0" name=""/>
        <dsp:cNvSpPr/>
      </dsp:nvSpPr>
      <dsp:spPr>
        <a:xfrm>
          <a:off x="1112402" y="1631220"/>
          <a:ext cx="1148080" cy="5740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a:t>Budget Cuts</a:t>
          </a:r>
        </a:p>
      </dsp:txBody>
      <dsp:txXfrm>
        <a:off x="1112402" y="1631220"/>
        <a:ext cx="1148080" cy="57404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F89754-CC22-4134-8087-3F7593D28B8B}">
      <dsp:nvSpPr>
        <dsp:cNvPr id="0" name=""/>
        <dsp:cNvSpPr/>
      </dsp:nvSpPr>
      <dsp:spPr>
        <a:xfrm>
          <a:off x="2060252" y="639664"/>
          <a:ext cx="134014" cy="1493303"/>
        </a:xfrm>
        <a:custGeom>
          <a:avLst/>
          <a:gdLst/>
          <a:ahLst/>
          <a:cxnLst/>
          <a:rect l="0" t="0" r="0" b="0"/>
          <a:pathLst>
            <a:path>
              <a:moveTo>
                <a:pt x="134014" y="0"/>
              </a:moveTo>
              <a:lnTo>
                <a:pt x="134014" y="1493303"/>
              </a:lnTo>
              <a:lnTo>
                <a:pt x="0" y="149330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3981C03-2307-4037-8A0D-85ED99635809}">
      <dsp:nvSpPr>
        <dsp:cNvPr id="0" name=""/>
        <dsp:cNvSpPr/>
      </dsp:nvSpPr>
      <dsp:spPr>
        <a:xfrm>
          <a:off x="2194266" y="639664"/>
          <a:ext cx="134014" cy="587110"/>
        </a:xfrm>
        <a:custGeom>
          <a:avLst/>
          <a:gdLst/>
          <a:ahLst/>
          <a:cxnLst/>
          <a:rect l="0" t="0" r="0" b="0"/>
          <a:pathLst>
            <a:path>
              <a:moveTo>
                <a:pt x="0" y="0"/>
              </a:moveTo>
              <a:lnTo>
                <a:pt x="0" y="587110"/>
              </a:lnTo>
              <a:lnTo>
                <a:pt x="134014" y="58711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A6D02DE-F425-4B8A-A935-DE8A3EC39044}">
      <dsp:nvSpPr>
        <dsp:cNvPr id="0" name=""/>
        <dsp:cNvSpPr/>
      </dsp:nvSpPr>
      <dsp:spPr>
        <a:xfrm>
          <a:off x="2060252" y="639664"/>
          <a:ext cx="134014" cy="587110"/>
        </a:xfrm>
        <a:custGeom>
          <a:avLst/>
          <a:gdLst/>
          <a:ahLst/>
          <a:cxnLst/>
          <a:rect l="0" t="0" r="0" b="0"/>
          <a:pathLst>
            <a:path>
              <a:moveTo>
                <a:pt x="134014" y="0"/>
              </a:moveTo>
              <a:lnTo>
                <a:pt x="134014" y="587110"/>
              </a:lnTo>
              <a:lnTo>
                <a:pt x="0" y="58711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543FA76-DBE3-4ADE-A57C-B58953F9BAF2}">
      <dsp:nvSpPr>
        <dsp:cNvPr id="0" name=""/>
        <dsp:cNvSpPr/>
      </dsp:nvSpPr>
      <dsp:spPr>
        <a:xfrm>
          <a:off x="2194266" y="639664"/>
          <a:ext cx="1544357" cy="2080414"/>
        </a:xfrm>
        <a:custGeom>
          <a:avLst/>
          <a:gdLst/>
          <a:ahLst/>
          <a:cxnLst/>
          <a:rect l="0" t="0" r="0" b="0"/>
          <a:pathLst>
            <a:path>
              <a:moveTo>
                <a:pt x="0" y="0"/>
              </a:moveTo>
              <a:lnTo>
                <a:pt x="0" y="1946400"/>
              </a:lnTo>
              <a:lnTo>
                <a:pt x="1544357" y="1946400"/>
              </a:lnTo>
              <a:lnTo>
                <a:pt x="1544357" y="208041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A4187E-604E-4CAD-A67E-5AAC67D29FCA}">
      <dsp:nvSpPr>
        <dsp:cNvPr id="0" name=""/>
        <dsp:cNvSpPr/>
      </dsp:nvSpPr>
      <dsp:spPr>
        <a:xfrm>
          <a:off x="2148546" y="639664"/>
          <a:ext cx="91440" cy="2080414"/>
        </a:xfrm>
        <a:custGeom>
          <a:avLst/>
          <a:gdLst/>
          <a:ahLst/>
          <a:cxnLst/>
          <a:rect l="0" t="0" r="0" b="0"/>
          <a:pathLst>
            <a:path>
              <a:moveTo>
                <a:pt x="45720" y="0"/>
              </a:moveTo>
              <a:lnTo>
                <a:pt x="45720" y="208041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BF40CDB-441E-4A87-A00A-12355106FFB8}">
      <dsp:nvSpPr>
        <dsp:cNvPr id="0" name=""/>
        <dsp:cNvSpPr/>
      </dsp:nvSpPr>
      <dsp:spPr>
        <a:xfrm>
          <a:off x="649909" y="639664"/>
          <a:ext cx="1544357" cy="2080414"/>
        </a:xfrm>
        <a:custGeom>
          <a:avLst/>
          <a:gdLst/>
          <a:ahLst/>
          <a:cxnLst/>
          <a:rect l="0" t="0" r="0" b="0"/>
          <a:pathLst>
            <a:path>
              <a:moveTo>
                <a:pt x="1544357" y="0"/>
              </a:moveTo>
              <a:lnTo>
                <a:pt x="1544357" y="1946400"/>
              </a:lnTo>
              <a:lnTo>
                <a:pt x="0" y="1946400"/>
              </a:lnTo>
              <a:lnTo>
                <a:pt x="0" y="208041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35962DA-794B-4D24-BB85-53A5DB046D24}">
      <dsp:nvSpPr>
        <dsp:cNvPr id="0" name=""/>
        <dsp:cNvSpPr/>
      </dsp:nvSpPr>
      <dsp:spPr>
        <a:xfrm>
          <a:off x="1556102" y="1500"/>
          <a:ext cx="1276328" cy="63816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a:t>Past/Future Markets    (Candidate Driven Market)</a:t>
          </a:r>
        </a:p>
      </dsp:txBody>
      <dsp:txXfrm>
        <a:off x="1556102" y="1500"/>
        <a:ext cx="1276328" cy="638164"/>
      </dsp:txXfrm>
    </dsp:sp>
    <dsp:sp modelId="{92A02CDF-35F5-4C04-A112-DF619040EF8C}">
      <dsp:nvSpPr>
        <dsp:cNvPr id="0" name=""/>
        <dsp:cNvSpPr/>
      </dsp:nvSpPr>
      <dsp:spPr>
        <a:xfrm>
          <a:off x="11745" y="2720079"/>
          <a:ext cx="1276328" cy="63816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a:t>Need to increase/alter/update benefits</a:t>
          </a:r>
        </a:p>
      </dsp:txBody>
      <dsp:txXfrm>
        <a:off x="11745" y="2720079"/>
        <a:ext cx="1276328" cy="638164"/>
      </dsp:txXfrm>
    </dsp:sp>
    <dsp:sp modelId="{54987164-9362-4846-BA6E-A2F5CFCB12FB}">
      <dsp:nvSpPr>
        <dsp:cNvPr id="0" name=""/>
        <dsp:cNvSpPr/>
      </dsp:nvSpPr>
      <dsp:spPr>
        <a:xfrm>
          <a:off x="1556102" y="2720079"/>
          <a:ext cx="1276328" cy="63816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a:t>Create very unique branding</a:t>
          </a:r>
        </a:p>
      </dsp:txBody>
      <dsp:txXfrm>
        <a:off x="1556102" y="2720079"/>
        <a:ext cx="1276328" cy="638164"/>
      </dsp:txXfrm>
    </dsp:sp>
    <dsp:sp modelId="{F5D29AB3-48A8-4AC9-A5D8-D91B6065FA17}">
      <dsp:nvSpPr>
        <dsp:cNvPr id="0" name=""/>
        <dsp:cNvSpPr/>
      </dsp:nvSpPr>
      <dsp:spPr>
        <a:xfrm>
          <a:off x="3100459" y="2720079"/>
          <a:ext cx="1276328" cy="63816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a:t>More speed/efficiencies </a:t>
          </a:r>
        </a:p>
      </dsp:txBody>
      <dsp:txXfrm>
        <a:off x="3100459" y="2720079"/>
        <a:ext cx="1276328" cy="638164"/>
      </dsp:txXfrm>
    </dsp:sp>
    <dsp:sp modelId="{C9CB263D-A94D-42F4-B70A-ACCAADD236C1}">
      <dsp:nvSpPr>
        <dsp:cNvPr id="0" name=""/>
        <dsp:cNvSpPr/>
      </dsp:nvSpPr>
      <dsp:spPr>
        <a:xfrm>
          <a:off x="783923" y="907693"/>
          <a:ext cx="1276328" cy="63816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a:t>More Open Roles</a:t>
          </a:r>
        </a:p>
      </dsp:txBody>
      <dsp:txXfrm>
        <a:off x="783923" y="907693"/>
        <a:ext cx="1276328" cy="638164"/>
      </dsp:txXfrm>
    </dsp:sp>
    <dsp:sp modelId="{7FA91E8F-1A41-4015-8380-AB84E0E9E0FA}">
      <dsp:nvSpPr>
        <dsp:cNvPr id="0" name=""/>
        <dsp:cNvSpPr/>
      </dsp:nvSpPr>
      <dsp:spPr>
        <a:xfrm>
          <a:off x="2328280" y="907693"/>
          <a:ext cx="1276328" cy="63816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a:t>Less available candidates</a:t>
          </a:r>
        </a:p>
      </dsp:txBody>
      <dsp:txXfrm>
        <a:off x="2328280" y="907693"/>
        <a:ext cx="1276328" cy="638164"/>
      </dsp:txXfrm>
    </dsp:sp>
    <dsp:sp modelId="{F9BD0ED3-E91C-45AD-BAB6-EDC670CA1853}">
      <dsp:nvSpPr>
        <dsp:cNvPr id="0" name=""/>
        <dsp:cNvSpPr/>
      </dsp:nvSpPr>
      <dsp:spPr>
        <a:xfrm>
          <a:off x="783923" y="1813886"/>
          <a:ext cx="1276328" cy="63816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a:t>Financial resources</a:t>
          </a:r>
        </a:p>
      </dsp:txBody>
      <dsp:txXfrm>
        <a:off x="783923" y="1813886"/>
        <a:ext cx="1276328" cy="63816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81AF07-14E9-41A3-B9CE-EC4FB6597773}">
      <dsp:nvSpPr>
        <dsp:cNvPr id="0" name=""/>
        <dsp:cNvSpPr/>
      </dsp:nvSpPr>
      <dsp:spPr>
        <a:xfrm>
          <a:off x="1299895" y="41939"/>
          <a:ext cx="1483312" cy="148331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242645C-5CE1-49AD-9567-1A7E80256E48}">
      <dsp:nvSpPr>
        <dsp:cNvPr id="0" name=""/>
        <dsp:cNvSpPr/>
      </dsp:nvSpPr>
      <dsp:spPr>
        <a:xfrm>
          <a:off x="393426" y="1914116"/>
          <a:ext cx="329625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022350">
            <a:lnSpc>
              <a:spcPct val="100000"/>
            </a:lnSpc>
            <a:spcBef>
              <a:spcPct val="0"/>
            </a:spcBef>
            <a:spcAft>
              <a:spcPct val="35000"/>
            </a:spcAft>
            <a:buNone/>
          </a:pPr>
          <a:r>
            <a:rPr lang="en-US" sz="2300" kern="1200"/>
            <a:t>Employee retention strengthens teams </a:t>
          </a:r>
        </a:p>
      </dsp:txBody>
      <dsp:txXfrm>
        <a:off x="393426" y="1914116"/>
        <a:ext cx="3296250" cy="720000"/>
      </dsp:txXfrm>
    </dsp:sp>
    <dsp:sp modelId="{5F8CC6F8-CFEE-4A52-A3B1-10A9FCE12662}">
      <dsp:nvSpPr>
        <dsp:cNvPr id="0" name=""/>
        <dsp:cNvSpPr/>
      </dsp:nvSpPr>
      <dsp:spPr>
        <a:xfrm>
          <a:off x="5172989" y="41939"/>
          <a:ext cx="1483312" cy="148331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07262FC-C2F5-42BE-A960-94C5E1A71D18}">
      <dsp:nvSpPr>
        <dsp:cNvPr id="0" name=""/>
        <dsp:cNvSpPr/>
      </dsp:nvSpPr>
      <dsp:spPr>
        <a:xfrm>
          <a:off x="4266520" y="1914116"/>
          <a:ext cx="329625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022350">
            <a:lnSpc>
              <a:spcPct val="100000"/>
            </a:lnSpc>
            <a:spcBef>
              <a:spcPct val="0"/>
            </a:spcBef>
            <a:spcAft>
              <a:spcPct val="35000"/>
            </a:spcAft>
            <a:buNone/>
          </a:pPr>
          <a:r>
            <a:rPr lang="en-US" sz="2300" kern="1200"/>
            <a:t>Cost to recruit and onboard new employees </a:t>
          </a:r>
        </a:p>
      </dsp:txBody>
      <dsp:txXfrm>
        <a:off x="4266520" y="1914116"/>
        <a:ext cx="3296250" cy="7200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30E9EA-F781-43B3-829A-AB2FC349089E}">
      <dsp:nvSpPr>
        <dsp:cNvPr id="0" name=""/>
        <dsp:cNvSpPr/>
      </dsp:nvSpPr>
      <dsp:spPr>
        <a:xfrm>
          <a:off x="2292" y="449527"/>
          <a:ext cx="1818807" cy="109128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Competitive salaries and benefits</a:t>
          </a:r>
        </a:p>
      </dsp:txBody>
      <dsp:txXfrm>
        <a:off x="2292" y="449527"/>
        <a:ext cx="1818807" cy="1091284"/>
      </dsp:txXfrm>
    </dsp:sp>
    <dsp:sp modelId="{BD97CCB2-F31E-4DDF-AFD3-EF4B5825DD12}">
      <dsp:nvSpPr>
        <dsp:cNvPr id="0" name=""/>
        <dsp:cNvSpPr/>
      </dsp:nvSpPr>
      <dsp:spPr>
        <a:xfrm>
          <a:off x="2002980" y="449527"/>
          <a:ext cx="1818807" cy="109128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Normalize regular two-way feedback OPEN COMMUNICATION</a:t>
          </a:r>
        </a:p>
      </dsp:txBody>
      <dsp:txXfrm>
        <a:off x="2002980" y="449527"/>
        <a:ext cx="1818807" cy="1091284"/>
      </dsp:txXfrm>
    </dsp:sp>
    <dsp:sp modelId="{8546C0DA-4224-4E4F-9743-062B4B74601F}">
      <dsp:nvSpPr>
        <dsp:cNvPr id="0" name=""/>
        <dsp:cNvSpPr/>
      </dsp:nvSpPr>
      <dsp:spPr>
        <a:xfrm>
          <a:off x="4003669" y="449527"/>
          <a:ext cx="1818807" cy="109128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Make time for each employee</a:t>
          </a:r>
        </a:p>
      </dsp:txBody>
      <dsp:txXfrm>
        <a:off x="4003669" y="449527"/>
        <a:ext cx="1818807" cy="1091284"/>
      </dsp:txXfrm>
    </dsp:sp>
    <dsp:sp modelId="{8F24D968-AD9D-4410-A854-E0FAB883C91A}">
      <dsp:nvSpPr>
        <dsp:cNvPr id="0" name=""/>
        <dsp:cNvSpPr/>
      </dsp:nvSpPr>
      <dsp:spPr>
        <a:xfrm>
          <a:off x="6004357" y="449527"/>
          <a:ext cx="1818807" cy="109128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Focus on culture</a:t>
          </a:r>
        </a:p>
      </dsp:txBody>
      <dsp:txXfrm>
        <a:off x="6004357" y="449527"/>
        <a:ext cx="1818807" cy="1091284"/>
      </dsp:txXfrm>
    </dsp:sp>
    <dsp:sp modelId="{6C7C9E59-2E62-45B7-9B39-3199CFED7B6D}">
      <dsp:nvSpPr>
        <dsp:cNvPr id="0" name=""/>
        <dsp:cNvSpPr/>
      </dsp:nvSpPr>
      <dsp:spPr>
        <a:xfrm>
          <a:off x="2292" y="1722692"/>
          <a:ext cx="1818807" cy="109128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Stand behind your word</a:t>
          </a:r>
        </a:p>
      </dsp:txBody>
      <dsp:txXfrm>
        <a:off x="2292" y="1722692"/>
        <a:ext cx="1818807" cy="1091284"/>
      </dsp:txXfrm>
    </dsp:sp>
    <dsp:sp modelId="{8B22DDCA-D47D-43DF-87EB-E5EFC12F1349}">
      <dsp:nvSpPr>
        <dsp:cNvPr id="0" name=""/>
        <dsp:cNvSpPr/>
      </dsp:nvSpPr>
      <dsp:spPr>
        <a:xfrm>
          <a:off x="2002980" y="1722692"/>
          <a:ext cx="1818807" cy="109128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Transparency and communication</a:t>
          </a:r>
        </a:p>
      </dsp:txBody>
      <dsp:txXfrm>
        <a:off x="2002980" y="1722692"/>
        <a:ext cx="1818807" cy="1091284"/>
      </dsp:txXfrm>
    </dsp:sp>
    <dsp:sp modelId="{3E6D7D42-5557-4A68-A9D2-51626666F2A7}">
      <dsp:nvSpPr>
        <dsp:cNvPr id="0" name=""/>
        <dsp:cNvSpPr/>
      </dsp:nvSpPr>
      <dsp:spPr>
        <a:xfrm>
          <a:off x="4003669" y="1722692"/>
          <a:ext cx="1818807" cy="109128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en-US" sz="1600" kern="1200">
              <a:solidFill>
                <a:schemeClr val="bg1"/>
              </a:solidFill>
              <a:latin typeface="Calibri"/>
              <a:ea typeface="Calibri"/>
              <a:cs typeface="Calibri"/>
            </a:rPr>
            <a:t>Opportunities for professional development and career advancement</a:t>
          </a:r>
        </a:p>
      </dsp:txBody>
      <dsp:txXfrm>
        <a:off x="4003669" y="1722692"/>
        <a:ext cx="1818807" cy="1091284"/>
      </dsp:txXfrm>
    </dsp:sp>
    <dsp:sp modelId="{C5F4C569-1797-4DAA-A2AD-39B953ED3457}">
      <dsp:nvSpPr>
        <dsp:cNvPr id="0" name=""/>
        <dsp:cNvSpPr/>
      </dsp:nvSpPr>
      <dsp:spPr>
        <a:xfrm>
          <a:off x="6004357" y="1722692"/>
          <a:ext cx="1818807" cy="109128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solidFill>
                <a:schemeClr val="bg1"/>
              </a:solidFill>
              <a:latin typeface="Calibri"/>
              <a:ea typeface="Calibri"/>
              <a:cs typeface="Calibri"/>
            </a:rPr>
            <a:t>Balance between sustainable yet challenging workloads</a:t>
          </a:r>
          <a:endParaRPr lang="en-US" sz="1600" kern="1200">
            <a:solidFill>
              <a:schemeClr val="bg1"/>
            </a:solidFill>
            <a:latin typeface="Franklin Gothic Medium" panose="020B0603020102020204"/>
          </a:endParaRPr>
        </a:p>
      </dsp:txBody>
      <dsp:txXfrm>
        <a:off x="6004357" y="1722692"/>
        <a:ext cx="1818807" cy="109128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4EFB10E-FCF0-4116-A308-6AE73E2DC855}">
      <dsp:nvSpPr>
        <dsp:cNvPr id="0" name=""/>
        <dsp:cNvSpPr/>
      </dsp:nvSpPr>
      <dsp:spPr>
        <a:xfrm>
          <a:off x="0" y="358"/>
          <a:ext cx="4683949" cy="49309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882E35E-2856-492F-BF18-853B8FC523CC}">
      <dsp:nvSpPr>
        <dsp:cNvPr id="0" name=""/>
        <dsp:cNvSpPr/>
      </dsp:nvSpPr>
      <dsp:spPr>
        <a:xfrm>
          <a:off x="149160" y="111304"/>
          <a:ext cx="271201" cy="271201"/>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B4E4F7A-5D45-4BB6-8221-E499DEFDEDC0}">
      <dsp:nvSpPr>
        <dsp:cNvPr id="0" name=""/>
        <dsp:cNvSpPr/>
      </dsp:nvSpPr>
      <dsp:spPr>
        <a:xfrm>
          <a:off x="569522" y="358"/>
          <a:ext cx="4114426" cy="4930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2186" tIns="52186" rIns="52186" bIns="52186" numCol="1" spcCol="1270" anchor="ctr" anchorCtr="0">
          <a:noAutofit/>
        </a:bodyPr>
        <a:lstStyle/>
        <a:p>
          <a:pPr marL="0" lvl="0" indent="0" algn="l" defTabSz="622300">
            <a:lnSpc>
              <a:spcPct val="90000"/>
            </a:lnSpc>
            <a:spcBef>
              <a:spcPct val="0"/>
            </a:spcBef>
            <a:spcAft>
              <a:spcPct val="35000"/>
            </a:spcAft>
            <a:buNone/>
          </a:pPr>
          <a:r>
            <a:rPr lang="en-US" sz="1400" kern="1200"/>
            <a:t>Mentorship programs</a:t>
          </a:r>
        </a:p>
      </dsp:txBody>
      <dsp:txXfrm>
        <a:off x="569522" y="358"/>
        <a:ext cx="4114426" cy="493093"/>
      </dsp:txXfrm>
    </dsp:sp>
    <dsp:sp modelId="{A6A70791-86AC-4944-B738-E217E0CDDC85}">
      <dsp:nvSpPr>
        <dsp:cNvPr id="0" name=""/>
        <dsp:cNvSpPr/>
      </dsp:nvSpPr>
      <dsp:spPr>
        <a:xfrm>
          <a:off x="0" y="616724"/>
          <a:ext cx="4683949" cy="49309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42C5EDF-C77B-4F74-9B7F-ED50BF887A6A}">
      <dsp:nvSpPr>
        <dsp:cNvPr id="0" name=""/>
        <dsp:cNvSpPr/>
      </dsp:nvSpPr>
      <dsp:spPr>
        <a:xfrm>
          <a:off x="149160" y="727670"/>
          <a:ext cx="271201" cy="271201"/>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407CC51-D8F2-4095-BB7A-702F60931CE4}">
      <dsp:nvSpPr>
        <dsp:cNvPr id="0" name=""/>
        <dsp:cNvSpPr/>
      </dsp:nvSpPr>
      <dsp:spPr>
        <a:xfrm>
          <a:off x="569522" y="616724"/>
          <a:ext cx="4114426" cy="4930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2186" tIns="52186" rIns="52186" bIns="52186" numCol="1" spcCol="1270" anchor="ctr" anchorCtr="0">
          <a:noAutofit/>
        </a:bodyPr>
        <a:lstStyle/>
        <a:p>
          <a:pPr marL="0" lvl="0" indent="0" algn="l" defTabSz="622300">
            <a:lnSpc>
              <a:spcPct val="90000"/>
            </a:lnSpc>
            <a:spcBef>
              <a:spcPct val="0"/>
            </a:spcBef>
            <a:spcAft>
              <a:spcPct val="35000"/>
            </a:spcAft>
            <a:buNone/>
          </a:pPr>
          <a:r>
            <a:rPr lang="en-US" sz="1400" kern="1200"/>
            <a:t>Regular formal and informal performance reviews </a:t>
          </a:r>
        </a:p>
      </dsp:txBody>
      <dsp:txXfrm>
        <a:off x="569522" y="616724"/>
        <a:ext cx="4114426" cy="493093"/>
      </dsp:txXfrm>
    </dsp:sp>
    <dsp:sp modelId="{AA2DADC9-9157-482E-9EA9-9673CF7039B1}">
      <dsp:nvSpPr>
        <dsp:cNvPr id="0" name=""/>
        <dsp:cNvSpPr/>
      </dsp:nvSpPr>
      <dsp:spPr>
        <a:xfrm>
          <a:off x="0" y="1233091"/>
          <a:ext cx="4683949" cy="49309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36C2514-F4ED-4012-8C02-3A41013DE5E5}">
      <dsp:nvSpPr>
        <dsp:cNvPr id="0" name=""/>
        <dsp:cNvSpPr/>
      </dsp:nvSpPr>
      <dsp:spPr>
        <a:xfrm>
          <a:off x="149160" y="1344037"/>
          <a:ext cx="271201" cy="271201"/>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597414D-0D87-4EDC-ABF6-C3B3FD788A67}">
      <dsp:nvSpPr>
        <dsp:cNvPr id="0" name=""/>
        <dsp:cNvSpPr/>
      </dsp:nvSpPr>
      <dsp:spPr>
        <a:xfrm>
          <a:off x="569522" y="1233091"/>
          <a:ext cx="4114426" cy="4930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2186" tIns="52186" rIns="52186" bIns="52186" numCol="1" spcCol="1270" anchor="ctr" anchorCtr="0">
          <a:noAutofit/>
        </a:bodyPr>
        <a:lstStyle/>
        <a:p>
          <a:pPr marL="0" lvl="0" indent="0" algn="l" defTabSz="622300">
            <a:lnSpc>
              <a:spcPct val="90000"/>
            </a:lnSpc>
            <a:spcBef>
              <a:spcPct val="0"/>
            </a:spcBef>
            <a:spcAft>
              <a:spcPct val="35000"/>
            </a:spcAft>
            <a:buNone/>
          </a:pPr>
          <a:r>
            <a:rPr lang="en-US" sz="1400" kern="1200"/>
            <a:t>Customized career paths</a:t>
          </a:r>
        </a:p>
      </dsp:txBody>
      <dsp:txXfrm>
        <a:off x="569522" y="1233091"/>
        <a:ext cx="4114426" cy="493093"/>
      </dsp:txXfrm>
    </dsp:sp>
    <dsp:sp modelId="{AD2BA81F-5F23-43B3-8FEA-6DA31F66AFDF}">
      <dsp:nvSpPr>
        <dsp:cNvPr id="0" name=""/>
        <dsp:cNvSpPr/>
      </dsp:nvSpPr>
      <dsp:spPr>
        <a:xfrm>
          <a:off x="0" y="1849458"/>
          <a:ext cx="4683949" cy="49309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AAC806C-BF76-4F68-AFD2-E8A12F10B977}">
      <dsp:nvSpPr>
        <dsp:cNvPr id="0" name=""/>
        <dsp:cNvSpPr/>
      </dsp:nvSpPr>
      <dsp:spPr>
        <a:xfrm>
          <a:off x="149160" y="1960404"/>
          <a:ext cx="271201" cy="271201"/>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2C45938-816E-4A4B-A29D-5EEBF987A2A6}">
      <dsp:nvSpPr>
        <dsp:cNvPr id="0" name=""/>
        <dsp:cNvSpPr/>
      </dsp:nvSpPr>
      <dsp:spPr>
        <a:xfrm>
          <a:off x="569522" y="1849458"/>
          <a:ext cx="4114426" cy="4930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2186" tIns="52186" rIns="52186" bIns="52186" numCol="1" spcCol="1270" anchor="ctr" anchorCtr="0">
          <a:noAutofit/>
        </a:bodyPr>
        <a:lstStyle/>
        <a:p>
          <a:pPr marL="0" lvl="0" indent="0" algn="l" defTabSz="622300">
            <a:lnSpc>
              <a:spcPct val="90000"/>
            </a:lnSpc>
            <a:spcBef>
              <a:spcPct val="0"/>
            </a:spcBef>
            <a:spcAft>
              <a:spcPct val="35000"/>
            </a:spcAft>
            <a:buNone/>
          </a:pPr>
          <a:r>
            <a:rPr lang="en-US" sz="1400" kern="1200"/>
            <a:t>Cross Training Opportunities</a:t>
          </a:r>
        </a:p>
      </dsp:txBody>
      <dsp:txXfrm>
        <a:off x="569522" y="1849458"/>
        <a:ext cx="4114426" cy="493093"/>
      </dsp:txXfrm>
    </dsp:sp>
    <dsp:sp modelId="{8E4308C3-7914-43AD-8691-83D71337D87F}">
      <dsp:nvSpPr>
        <dsp:cNvPr id="0" name=""/>
        <dsp:cNvSpPr/>
      </dsp:nvSpPr>
      <dsp:spPr>
        <a:xfrm>
          <a:off x="0" y="2465825"/>
          <a:ext cx="4683949" cy="49309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0FE73B4-53BF-442C-9916-CA2AD3BC98AB}">
      <dsp:nvSpPr>
        <dsp:cNvPr id="0" name=""/>
        <dsp:cNvSpPr/>
      </dsp:nvSpPr>
      <dsp:spPr>
        <a:xfrm>
          <a:off x="149160" y="2576771"/>
          <a:ext cx="271201" cy="271201"/>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9613CF5-38C1-4CD5-BF63-2CF6C980DDD7}">
      <dsp:nvSpPr>
        <dsp:cNvPr id="0" name=""/>
        <dsp:cNvSpPr/>
      </dsp:nvSpPr>
      <dsp:spPr>
        <a:xfrm>
          <a:off x="569522" y="2465825"/>
          <a:ext cx="4114426" cy="4930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2186" tIns="52186" rIns="52186" bIns="52186" numCol="1" spcCol="1270" anchor="ctr" anchorCtr="0">
          <a:noAutofit/>
        </a:bodyPr>
        <a:lstStyle/>
        <a:p>
          <a:pPr marL="0" lvl="0" indent="0" algn="l" defTabSz="622300">
            <a:lnSpc>
              <a:spcPct val="90000"/>
            </a:lnSpc>
            <a:spcBef>
              <a:spcPct val="0"/>
            </a:spcBef>
            <a:spcAft>
              <a:spcPct val="35000"/>
            </a:spcAft>
            <a:buNone/>
          </a:pPr>
          <a:r>
            <a:rPr lang="en-US" sz="1400" kern="1200"/>
            <a:t>Enhance employee engagement</a:t>
          </a:r>
        </a:p>
      </dsp:txBody>
      <dsp:txXfrm>
        <a:off x="569522" y="2465825"/>
        <a:ext cx="4114426" cy="493093"/>
      </dsp:txXfrm>
    </dsp:sp>
    <dsp:sp modelId="{31108C43-A80F-47EC-9042-861D61EE1861}">
      <dsp:nvSpPr>
        <dsp:cNvPr id="0" name=""/>
        <dsp:cNvSpPr/>
      </dsp:nvSpPr>
      <dsp:spPr>
        <a:xfrm>
          <a:off x="0" y="3082191"/>
          <a:ext cx="4683949" cy="49309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FD4583E-7722-4942-A794-A5E223A9EBBC}">
      <dsp:nvSpPr>
        <dsp:cNvPr id="0" name=""/>
        <dsp:cNvSpPr/>
      </dsp:nvSpPr>
      <dsp:spPr>
        <a:xfrm>
          <a:off x="149160" y="3193137"/>
          <a:ext cx="271201" cy="271201"/>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C4A72EB-B1BD-45CC-9DFA-87DBFDEA310F}">
      <dsp:nvSpPr>
        <dsp:cNvPr id="0" name=""/>
        <dsp:cNvSpPr/>
      </dsp:nvSpPr>
      <dsp:spPr>
        <a:xfrm>
          <a:off x="569522" y="3082191"/>
          <a:ext cx="4114426" cy="4930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2186" tIns="52186" rIns="52186" bIns="52186" numCol="1" spcCol="1270" anchor="ctr" anchorCtr="0">
          <a:noAutofit/>
        </a:bodyPr>
        <a:lstStyle/>
        <a:p>
          <a:pPr marL="0" lvl="0" indent="0" algn="l" defTabSz="622300">
            <a:lnSpc>
              <a:spcPct val="90000"/>
            </a:lnSpc>
            <a:spcBef>
              <a:spcPct val="0"/>
            </a:spcBef>
            <a:spcAft>
              <a:spcPct val="35000"/>
            </a:spcAft>
            <a:buNone/>
          </a:pPr>
          <a:r>
            <a:rPr lang="en-US" sz="1400" kern="1200"/>
            <a:t>Regular review of compensation and benefits packages</a:t>
          </a:r>
        </a:p>
      </dsp:txBody>
      <dsp:txXfrm>
        <a:off x="569522" y="3082191"/>
        <a:ext cx="4114426" cy="493093"/>
      </dsp:txXfrm>
    </dsp:sp>
    <dsp:sp modelId="{AB4FE7EE-BE97-448A-BDB7-D44AB53FE53F}">
      <dsp:nvSpPr>
        <dsp:cNvPr id="0" name=""/>
        <dsp:cNvSpPr/>
      </dsp:nvSpPr>
      <dsp:spPr>
        <a:xfrm>
          <a:off x="0" y="3698558"/>
          <a:ext cx="4683949" cy="49309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72B12D7-9BE8-4232-A0EA-B109F1FBBC01}">
      <dsp:nvSpPr>
        <dsp:cNvPr id="0" name=""/>
        <dsp:cNvSpPr/>
      </dsp:nvSpPr>
      <dsp:spPr>
        <a:xfrm>
          <a:off x="149160" y="3809504"/>
          <a:ext cx="271201" cy="271201"/>
        </a:xfrm>
        <a:prstGeom prst="rect">
          <a:avLst/>
        </a:prstGeom>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16EEAA6-C33F-433E-9675-B9B94503E16E}">
      <dsp:nvSpPr>
        <dsp:cNvPr id="0" name=""/>
        <dsp:cNvSpPr/>
      </dsp:nvSpPr>
      <dsp:spPr>
        <a:xfrm>
          <a:off x="569522" y="3698558"/>
          <a:ext cx="4114426" cy="4930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2186" tIns="52186" rIns="52186" bIns="52186" numCol="1" spcCol="1270" anchor="ctr" anchorCtr="0">
          <a:noAutofit/>
        </a:bodyPr>
        <a:lstStyle/>
        <a:p>
          <a:pPr marL="0" lvl="0" indent="0" algn="l" defTabSz="622300">
            <a:lnSpc>
              <a:spcPct val="90000"/>
            </a:lnSpc>
            <a:spcBef>
              <a:spcPct val="0"/>
            </a:spcBef>
            <a:spcAft>
              <a:spcPct val="35000"/>
            </a:spcAft>
            <a:buNone/>
          </a:pPr>
          <a:r>
            <a:rPr lang="en-US" sz="1400" kern="1200"/>
            <a:t>Promote positive environment and work life balance, flexibility</a:t>
          </a:r>
        </a:p>
      </dsp:txBody>
      <dsp:txXfrm>
        <a:off x="569522" y="3698558"/>
        <a:ext cx="4114426" cy="493093"/>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389210-AF33-44A1-A546-E3DEC40FEF58}">
      <dsp:nvSpPr>
        <dsp:cNvPr id="0" name=""/>
        <dsp:cNvSpPr/>
      </dsp:nvSpPr>
      <dsp:spPr>
        <a:xfrm>
          <a:off x="285002" y="710622"/>
          <a:ext cx="876041" cy="876041"/>
        </a:xfrm>
        <a:prstGeom prst="ellipse">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4FB34F2-38A3-479D-AD1F-BF70FF9B94F1}">
      <dsp:nvSpPr>
        <dsp:cNvPr id="0" name=""/>
        <dsp:cNvSpPr/>
      </dsp:nvSpPr>
      <dsp:spPr>
        <a:xfrm>
          <a:off x="471700" y="897319"/>
          <a:ext cx="502646" cy="50264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44C38E2-4EA6-4FA8-A671-E5AEBE419DF5}">
      <dsp:nvSpPr>
        <dsp:cNvPr id="0" name=""/>
        <dsp:cNvSpPr/>
      </dsp:nvSpPr>
      <dsp:spPr>
        <a:xfrm>
          <a:off x="4956" y="1859528"/>
          <a:ext cx="1436132" cy="5744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577850">
            <a:lnSpc>
              <a:spcPct val="90000"/>
            </a:lnSpc>
            <a:spcBef>
              <a:spcPct val="0"/>
            </a:spcBef>
            <a:spcAft>
              <a:spcPct val="35000"/>
            </a:spcAft>
            <a:buNone/>
            <a:defRPr cap="all"/>
          </a:pPr>
          <a:r>
            <a:rPr lang="en-US" sz="1300" kern="1200"/>
            <a:t>Learning Systems </a:t>
          </a:r>
        </a:p>
      </dsp:txBody>
      <dsp:txXfrm>
        <a:off x="4956" y="1859528"/>
        <a:ext cx="1436132" cy="574453"/>
      </dsp:txXfrm>
    </dsp:sp>
    <dsp:sp modelId="{E33C1773-95FA-4F93-A2F7-B9084E6F0F38}">
      <dsp:nvSpPr>
        <dsp:cNvPr id="0" name=""/>
        <dsp:cNvSpPr/>
      </dsp:nvSpPr>
      <dsp:spPr>
        <a:xfrm>
          <a:off x="1972458" y="710622"/>
          <a:ext cx="876041" cy="876041"/>
        </a:xfrm>
        <a:prstGeom prst="ellipse">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7FFD807-DC2F-4BCA-9825-0F5E237ABB68}">
      <dsp:nvSpPr>
        <dsp:cNvPr id="0" name=""/>
        <dsp:cNvSpPr/>
      </dsp:nvSpPr>
      <dsp:spPr>
        <a:xfrm>
          <a:off x="2159156" y="897319"/>
          <a:ext cx="502646" cy="50264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439C299-EEA7-42A5-81BD-00A4CB340A74}">
      <dsp:nvSpPr>
        <dsp:cNvPr id="0" name=""/>
        <dsp:cNvSpPr/>
      </dsp:nvSpPr>
      <dsp:spPr>
        <a:xfrm>
          <a:off x="1692413" y="1859528"/>
          <a:ext cx="1436132" cy="5744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577850">
            <a:lnSpc>
              <a:spcPct val="90000"/>
            </a:lnSpc>
            <a:spcBef>
              <a:spcPct val="0"/>
            </a:spcBef>
            <a:spcAft>
              <a:spcPct val="35000"/>
            </a:spcAft>
            <a:buNone/>
            <a:defRPr cap="all"/>
          </a:pPr>
          <a:r>
            <a:rPr lang="en-US" sz="1300" kern="1200"/>
            <a:t>Professional Organizations</a:t>
          </a:r>
        </a:p>
      </dsp:txBody>
      <dsp:txXfrm>
        <a:off x="1692413" y="1859528"/>
        <a:ext cx="1436132" cy="574453"/>
      </dsp:txXfrm>
    </dsp:sp>
    <dsp:sp modelId="{7BB98386-4742-4AEB-B92F-E25002913332}">
      <dsp:nvSpPr>
        <dsp:cNvPr id="0" name=""/>
        <dsp:cNvSpPr/>
      </dsp:nvSpPr>
      <dsp:spPr>
        <a:xfrm>
          <a:off x="3659914" y="710622"/>
          <a:ext cx="876041" cy="876041"/>
        </a:xfrm>
        <a:prstGeom prst="ellipse">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BCBA222-A26B-4A7B-9558-192377A2853A}">
      <dsp:nvSpPr>
        <dsp:cNvPr id="0" name=""/>
        <dsp:cNvSpPr/>
      </dsp:nvSpPr>
      <dsp:spPr>
        <a:xfrm>
          <a:off x="3846612" y="897319"/>
          <a:ext cx="502646" cy="50264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9E89FF0-7A35-4510-9B02-D589B3EC0796}">
      <dsp:nvSpPr>
        <dsp:cNvPr id="0" name=""/>
        <dsp:cNvSpPr/>
      </dsp:nvSpPr>
      <dsp:spPr>
        <a:xfrm>
          <a:off x="3379869" y="1859528"/>
          <a:ext cx="1436132" cy="5744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577850">
            <a:lnSpc>
              <a:spcPct val="90000"/>
            </a:lnSpc>
            <a:spcBef>
              <a:spcPct val="0"/>
            </a:spcBef>
            <a:spcAft>
              <a:spcPct val="35000"/>
            </a:spcAft>
            <a:buNone/>
            <a:defRPr cap="all"/>
          </a:pPr>
          <a:r>
            <a:rPr lang="en-US" sz="1300" kern="1200"/>
            <a:t>Tuition Reimbursement Programs</a:t>
          </a:r>
        </a:p>
      </dsp:txBody>
      <dsp:txXfrm>
        <a:off x="3379869" y="1859528"/>
        <a:ext cx="1436132" cy="574453"/>
      </dsp:txXfrm>
    </dsp:sp>
    <dsp:sp modelId="{BABF8EB7-7953-4C11-A69C-CF11E71E3A7E}">
      <dsp:nvSpPr>
        <dsp:cNvPr id="0" name=""/>
        <dsp:cNvSpPr/>
      </dsp:nvSpPr>
      <dsp:spPr>
        <a:xfrm>
          <a:off x="5347371" y="710622"/>
          <a:ext cx="876041" cy="876041"/>
        </a:xfrm>
        <a:prstGeom prst="ellipse">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CC5C44E-7A7E-477C-81D8-F950B436F8D4}">
      <dsp:nvSpPr>
        <dsp:cNvPr id="0" name=""/>
        <dsp:cNvSpPr/>
      </dsp:nvSpPr>
      <dsp:spPr>
        <a:xfrm>
          <a:off x="5534068" y="897319"/>
          <a:ext cx="502646" cy="502646"/>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3961101-76DB-4EBE-B405-CCF803E89DDD}">
      <dsp:nvSpPr>
        <dsp:cNvPr id="0" name=""/>
        <dsp:cNvSpPr/>
      </dsp:nvSpPr>
      <dsp:spPr>
        <a:xfrm>
          <a:off x="5067325" y="1859528"/>
          <a:ext cx="1436132" cy="5744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577850">
            <a:lnSpc>
              <a:spcPct val="90000"/>
            </a:lnSpc>
            <a:spcBef>
              <a:spcPct val="0"/>
            </a:spcBef>
            <a:spcAft>
              <a:spcPct val="35000"/>
            </a:spcAft>
            <a:buNone/>
            <a:defRPr cap="all"/>
          </a:pPr>
          <a:r>
            <a:rPr lang="en-US" sz="1300" kern="1200"/>
            <a:t>Internal Mobility Programs</a:t>
          </a:r>
        </a:p>
      </dsp:txBody>
      <dsp:txXfrm>
        <a:off x="5067325" y="1859528"/>
        <a:ext cx="1436132" cy="574453"/>
      </dsp:txXfrm>
    </dsp:sp>
    <dsp:sp modelId="{FFF42496-2A04-4CFD-B364-9DF0CA4C8687}">
      <dsp:nvSpPr>
        <dsp:cNvPr id="0" name=""/>
        <dsp:cNvSpPr/>
      </dsp:nvSpPr>
      <dsp:spPr>
        <a:xfrm>
          <a:off x="7034827" y="710622"/>
          <a:ext cx="876041" cy="876041"/>
        </a:xfrm>
        <a:prstGeom prst="ellipse">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26D7DE3-73A8-4E84-AFDF-1B98CD071D3E}">
      <dsp:nvSpPr>
        <dsp:cNvPr id="0" name=""/>
        <dsp:cNvSpPr/>
      </dsp:nvSpPr>
      <dsp:spPr>
        <a:xfrm>
          <a:off x="7221524" y="897319"/>
          <a:ext cx="502646" cy="502646"/>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E5D1116-A523-46D1-BEFE-9A4F4BD4A42A}">
      <dsp:nvSpPr>
        <dsp:cNvPr id="0" name=""/>
        <dsp:cNvSpPr/>
      </dsp:nvSpPr>
      <dsp:spPr>
        <a:xfrm>
          <a:off x="6754781" y="1859528"/>
          <a:ext cx="1436132" cy="5744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577850">
            <a:lnSpc>
              <a:spcPct val="90000"/>
            </a:lnSpc>
            <a:spcBef>
              <a:spcPct val="0"/>
            </a:spcBef>
            <a:spcAft>
              <a:spcPct val="35000"/>
            </a:spcAft>
            <a:buNone/>
            <a:defRPr cap="all"/>
          </a:pPr>
          <a:r>
            <a:rPr lang="en-US" sz="1300" kern="1200"/>
            <a:t>Career Development Plans</a:t>
          </a:r>
        </a:p>
      </dsp:txBody>
      <dsp:txXfrm>
        <a:off x="6754781" y="1859528"/>
        <a:ext cx="1436132" cy="574453"/>
      </dsp:txXfrm>
    </dsp:sp>
  </dsp:spTree>
</dsp:drawing>
</file>

<file path=ppt/diagrams/layout1.xml><?xml version="1.0" encoding="utf-8"?>
<dgm:layoutDef xmlns:dgm="http://schemas.openxmlformats.org/drawingml/2006/diagram" xmlns:a="http://schemas.openxmlformats.org/drawingml/2006/main" uniqueId="urn:microsoft.com/office/officeart/2016/7/layout/VerticalHollowActionList">
  <dgm:title val="Vertical Hollow Action List"/>
  <dgm:desc val="Use to show non-sequential or grouped lists of information. Works well with large amounts of text. All text has the same level of emphasis, and direction is not implied."/>
  <dgm:catLst>
    <dgm:cat type="list"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 modelId="5">
          <dgm:prSet phldr="1"/>
        </dgm:pt>
        <dgm:pt modelId="51">
          <dgm:prSet phldr="1"/>
        </dgm:pt>
      </dgm:ptLst>
      <dgm:cxnLst>
        <dgm:cxn modelId="4" srcId="0" destId="1" srcOrd="0" destOrd="0"/>
        <dgm:cxn modelId="5" srcId="0" destId="2" srcOrd="1" destOrd="0"/>
        <dgm:cxn modelId="6" srcId="0" destId="3" srcOrd="2" destOrd="0"/>
        <dgm:cxn modelId="7" srcId="0" destId="4" srcOrd="3" destOrd="0"/>
        <dgm:cxn modelId="8" srcId="0" destId="5" srcOrd="4" destOrd="0"/>
        <dgm:cxn modelId="13" srcId="1" destId="11" srcOrd="0" destOrd="0"/>
        <dgm:cxn modelId="23" srcId="2" destId="21" srcOrd="0" destOrd="0"/>
        <dgm:cxn modelId="33" srcId="3" destId="31" srcOrd="0" destOrd="0"/>
        <dgm:cxn modelId="43" srcId="4" destId="41" srcOrd="0" destOrd="0"/>
        <dgm:cxn modelId="53" srcId="5" destId="5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6"/>
      <dgm:constr type="primFontSz" for="des" forName="parentText" op="equ" val="28"/>
      <dgm:constr type="primFontSz" for="des" forName="descendantText" refType="primFontSz" refFor="des" refForName="parentText" op="lte" fact="0.82"/>
      <dgm:constr type="primFontSz" for="des" forName="parentText" refType="primFontSz" refFor="des" refForName="descendantText" op="lte" fact="1.25"/>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2"/>
          <dgm:constr type="w" for="ch" forName="descendantText" refType="w" fact="0.8"/>
          <dgm:constr type="h" for="ch" forName="parentText" refType="h"/>
          <dgm:constr type="h" for="ch" forName="descendantText" refType="h" refFor="ch" refForName="parentText"/>
        </dgm:constrLst>
        <dgm:ruleLst/>
        <dgm:layoutNode name="parentText" styleLbl="solidFgAcc1">
          <dgm:varLst>
            <dgm:chMax val="1"/>
            <dgm:bulletEnabled/>
          </dgm:varLst>
          <dgm:alg type="tx"/>
          <dgm:shape xmlns:r="http://schemas.openxmlformats.org/officeDocument/2006/relationships" type="rect" r:blip="" zOrderOff="3">
            <dgm:adjLst/>
          </dgm:shape>
          <dgm:presOf axis="self" ptType="node"/>
          <dgm:constrLst>
            <dgm:constr type="tMarg" refType="h" fact="0.28"/>
            <dgm:constr type="bMarg" refType="h" fact="0.28"/>
            <dgm:constr type="lMarg" refType="w" fact="0.15"/>
            <dgm:constr type="rMarg" refType="w" fact="0.15"/>
          </dgm:constrLst>
          <dgm:ruleLst>
            <dgm:rule type="primFontSz" val="15" fact="NaN" max="NaN"/>
          </dgm:ruleLst>
        </dgm:layoutNode>
        <dgm:layoutNode name="descendantText" styleLbl="alignNode1">
          <dgm:varLst>
            <dgm:bulletEnabled/>
          </dgm:varLst>
          <dgm:alg type="tx">
            <dgm:param type="stBulletLvl" val="0"/>
            <dgm:param type="parTxLTRAlign" val="l"/>
            <dgm:param type="shpTxLTRAlignCh" val="l"/>
            <dgm:param type="parTxRTLAlign" val="r"/>
            <dgm:param type="shpTxRTLAlignCh" val="r"/>
          </dgm:alg>
          <dgm:choose name="Name10">
            <dgm:if name="Name11" func="var" arg="dir" op="equ" val="norm">
              <dgm:shape xmlns:r="http://schemas.openxmlformats.org/officeDocument/2006/relationships" type="rect" r:blip="">
                <dgm:adjLst/>
              </dgm:shape>
            </dgm:if>
            <dgm:else name="Name12">
              <dgm:shape xmlns:r="http://schemas.openxmlformats.org/officeDocument/2006/relationships" type="rect" r:blip="">
                <dgm:adjLst/>
              </dgm:shape>
            </dgm:else>
          </dgm:choose>
          <dgm:presOf axis="des" ptType="node"/>
          <dgm:constrLst>
            <dgm:constr type="primFontSz" val="24"/>
            <dgm:constr type="lMarg" refType="w" fact="0.055"/>
            <dgm:constr type="rMarg" refType="w" fact="0.055"/>
            <dgm:constr type="tMarg" refType="h" fact="0.72"/>
            <dgm:constr type="bMarg" refType="h" fact="0.72"/>
          </dgm:constrLst>
          <dgm:ruleLst>
            <dgm:rule type="primFontSz" val="11" fact="NaN" max="NaN"/>
          </dgm:ruleLst>
        </dgm:layoutNod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7.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44CA6CB-9A6C-6043-9E28-8742B37C52AD}" type="datetimeFigureOut">
              <a:rPr lang="en-US" smtClean="0"/>
              <a:t>9/18/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B49D4D-568C-2641-B360-BD4A87EDB853}" type="slidenum">
              <a:rPr lang="en-US" smtClean="0"/>
              <a:t>‹#›</a:t>
            </a:fld>
            <a:endParaRPr lang="en-US"/>
          </a:p>
        </p:txBody>
      </p:sp>
    </p:spTree>
    <p:extLst>
      <p:ext uri="{BB962C8B-B14F-4D97-AF65-F5344CB8AC3E}">
        <p14:creationId xmlns:p14="http://schemas.microsoft.com/office/powerpoint/2010/main" val="464742620"/>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400">
              <a:defRPr/>
            </a:pPr>
            <a:r>
              <a:rPr kumimoji="0" lang="en-US" sz="1400" b="0" i="0" u="none" strike="noStrike" kern="1200" cap="none" spc="-30" normalizeH="0" baseline="0" noProof="0">
                <a:ln>
                  <a:noFill/>
                </a:ln>
                <a:effectLst/>
                <a:uLnTx/>
                <a:uFillTx/>
                <a:ea typeface="ＭＳ Ｐゴシック"/>
                <a:cs typeface="Calibri"/>
              </a:rPr>
              <a:t>Hi everyone; welcome and thank you for joining today’s ISMPP U</a:t>
            </a:r>
            <a:r>
              <a:rPr lang="en-US" sz="1400" spc="-30">
                <a:ea typeface="ＭＳ Ｐゴシック"/>
                <a:cs typeface="Calibri"/>
              </a:rPr>
              <a:t>,</a:t>
            </a:r>
            <a:r>
              <a:rPr kumimoji="0" lang="en-US" sz="1400" b="0" i="0" u="none" strike="noStrike" kern="1200" cap="none" spc="-30" normalizeH="0" baseline="0" noProof="0">
                <a:ln>
                  <a:noFill/>
                </a:ln>
                <a:effectLst/>
                <a:uLnTx/>
                <a:uFillTx/>
                <a:ea typeface="ＭＳ Ｐゴシック"/>
                <a:cs typeface="Calibri"/>
              </a:rPr>
              <a:t> “</a:t>
            </a:r>
            <a:r>
              <a:rPr lang="en-US" sz="4400"/>
              <a:t>Retaining Top Talent in Medical Publications"</a:t>
            </a:r>
            <a:endParaRPr lang="en-US" sz="4400">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FB49D4D-568C-2641-B360-BD4A87EDB8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4431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0"/>
              </a:spcBef>
              <a:spcAft>
                <a:spcPts val="0"/>
              </a:spcAft>
            </a:pPr>
            <a:endParaRPr lang="en-US">
              <a:effectLst/>
            </a:endParaRPr>
          </a:p>
          <a:p>
            <a:pPr marL="742950" marR="0" lvl="1" indent="-285750">
              <a:spcBef>
                <a:spcPts val="0"/>
              </a:spcBef>
              <a:spcAft>
                <a:spcPts val="0"/>
              </a:spcAft>
              <a:buSzPts val="1000"/>
              <a:buFont typeface="Courier New" panose="02070309020205020404" pitchFamily="49" charset="0"/>
              <a:buChar char="o"/>
              <a:tabLst>
                <a:tab pos="914400" algn="l"/>
              </a:tabLst>
            </a:pPr>
            <a:r>
              <a:rPr lang="en-US" sz="1100">
                <a:effectLst/>
                <a:latin typeface="Calibri" panose="020F0502020204030204" pitchFamily="34" charset="0"/>
                <a:ea typeface="Times New Roman" panose="02020603050405020304" pitchFamily="18" charset="0"/>
                <a:cs typeface="Times New Roman" panose="02020603050405020304" pitchFamily="18" charset="0"/>
              </a:rPr>
              <a:t>Because competition is tight if making a job change, understand it will likely be lateral in title.</a:t>
            </a:r>
            <a:endParaRPr lang="en-US" sz="1100">
              <a:effectLst/>
              <a:latin typeface="Calibri" panose="020F0502020204030204" pitchFamily="34" charset="0"/>
              <a:ea typeface="Aptos" panose="020B0004020202020204" pitchFamily="34" charset="0"/>
              <a:cs typeface="Times New Roman" panose="02020603050405020304" pitchFamily="18" charset="0"/>
            </a:endParaRPr>
          </a:p>
          <a:p>
            <a:r>
              <a:rPr lang="en-US" sz="1100">
                <a:effectLst/>
                <a:latin typeface="Calibri" panose="020F0502020204030204" pitchFamily="34" charset="0"/>
                <a:ea typeface="Times New Roman" panose="02020603050405020304" pitchFamily="18" charset="0"/>
              </a:rPr>
              <a:t>Pubs are vital so they do not seem to be affected by decrease in jobs but have been realigned to maximize efficiency. </a:t>
            </a:r>
            <a:endParaRPr lang="en-US"/>
          </a:p>
          <a:p>
            <a:pPr marL="171450" indent="-171450">
              <a:buFontTx/>
              <a:buChar char="-"/>
            </a:pPr>
            <a:r>
              <a:rPr lang="en-US"/>
              <a:t>As roles become more and more specific and positions evolve, it is becoming harder to find people perfectly suited from a skillset perspective for a position i.e. digital, omni-channel, operations but also metric/technology, AI</a:t>
            </a:r>
          </a:p>
          <a:p>
            <a:pPr marL="171450" indent="-171450">
              <a:buFontTx/>
              <a:buChar char="-"/>
            </a:pPr>
            <a:endParaRPr lang="en-US"/>
          </a:p>
        </p:txBody>
      </p:sp>
      <p:sp>
        <p:nvSpPr>
          <p:cNvPr id="4" name="Slide Number Placeholder 3"/>
          <p:cNvSpPr>
            <a:spLocks noGrp="1"/>
          </p:cNvSpPr>
          <p:nvPr>
            <p:ph type="sldNum" sz="quarter" idx="5"/>
          </p:nvPr>
        </p:nvSpPr>
        <p:spPr/>
        <p:txBody>
          <a:bodyPr/>
          <a:lstStyle/>
          <a:p>
            <a:fld id="{2FB49D4D-568C-2641-B360-BD4A87EDB853}" type="slidenum">
              <a:rPr lang="en-US" smtClean="0"/>
              <a:t>13</a:t>
            </a:fld>
            <a:endParaRPr lang="en-US"/>
          </a:p>
        </p:txBody>
      </p:sp>
    </p:spTree>
    <p:extLst>
      <p:ext uri="{BB962C8B-B14F-4D97-AF65-F5344CB8AC3E}">
        <p14:creationId xmlns:p14="http://schemas.microsoft.com/office/powerpoint/2010/main" val="35543195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2FB49D4D-568C-2641-B360-BD4A87EDB853}" type="slidenum">
              <a:rPr lang="en-US" smtClean="0"/>
              <a:t>14</a:t>
            </a:fld>
            <a:endParaRPr lang="en-US"/>
          </a:p>
        </p:txBody>
      </p:sp>
    </p:spTree>
    <p:extLst>
      <p:ext uri="{BB962C8B-B14F-4D97-AF65-F5344CB8AC3E}">
        <p14:creationId xmlns:p14="http://schemas.microsoft.com/office/powerpoint/2010/main" val="4796357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This concludes my portion of the presentation now I am going to hand it over to Rachel Kennedy who is going to discuss cultivating a compelling employer brand</a:t>
            </a:r>
          </a:p>
        </p:txBody>
      </p:sp>
      <p:sp>
        <p:nvSpPr>
          <p:cNvPr id="4" name="Slide Number Placeholder 3"/>
          <p:cNvSpPr>
            <a:spLocks noGrp="1"/>
          </p:cNvSpPr>
          <p:nvPr>
            <p:ph type="sldNum" sz="quarter" idx="5"/>
          </p:nvPr>
        </p:nvSpPr>
        <p:spPr/>
        <p:txBody>
          <a:bodyPr/>
          <a:lstStyle/>
          <a:p>
            <a:fld id="{2FB49D4D-568C-2641-B360-BD4A87EDB853}" type="slidenum">
              <a:rPr lang="en-US" smtClean="0"/>
              <a:t>15</a:t>
            </a:fld>
            <a:endParaRPr lang="en-US"/>
          </a:p>
        </p:txBody>
      </p:sp>
    </p:spTree>
    <p:extLst>
      <p:ext uri="{BB962C8B-B14F-4D97-AF65-F5344CB8AC3E}">
        <p14:creationId xmlns:p14="http://schemas.microsoft.com/office/powerpoint/2010/main" val="41258165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11"/>
        <p:cNvGrpSpPr/>
        <p:nvPr/>
      </p:nvGrpSpPr>
      <p:grpSpPr>
        <a:xfrm>
          <a:off x="0" y="0"/>
          <a:ext cx="0" cy="0"/>
          <a:chOff x="0" y="0"/>
          <a:chExt cx="0" cy="0"/>
        </a:xfrm>
      </p:grpSpPr>
      <p:sp>
        <p:nvSpPr>
          <p:cNvPr id="1412" name="PH_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endParaRPr/>
          </a:p>
        </p:txBody>
      </p:sp>
      <p:sp>
        <p:nvSpPr>
          <p:cNvPr id="1413" name="Google Shape;1413;p8:notes"/>
          <p:cNvSpPr>
            <a:spLocks noGrp="1" noRot="1" noChangeAspect="1"/>
          </p:cNvSpPr>
          <p:nvPr>
            <p:ph type="sldImg" idx="2"/>
          </p:nvPr>
        </p:nvSpPr>
        <p:spPr>
          <a:xfrm>
            <a:off x="685800" y="1143000"/>
            <a:ext cx="5486400" cy="3086100"/>
          </a:xfrm>
          <a:custGeom>
            <a:avLst/>
            <a:gdLst/>
            <a:ahLst/>
            <a:cxnLst/>
            <a:rect l="l" t="t" r="r" b="b"/>
            <a:pathLst>
              <a:path w="119999" h="119999"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441833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PH_Notes"/>
          <p:cNvSpPr>
            <a:spLocks noGrp="1"/>
          </p:cNvSpPr>
          <p:nvPr>
            <p:ph type="body" idx="1"/>
          </p:nvPr>
        </p:nvSpPr>
        <p:spPr/>
        <p:txBody>
          <a:bodyPr/>
          <a:lstStyle/>
          <a:p>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929F333-FACE-DF47-A5BE-6161F3AB7E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1237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PH_Notes"/>
          <p:cNvSpPr>
            <a:spLocks noGrp="1"/>
          </p:cNvSpPr>
          <p:nvPr>
            <p:ph type="body" idx="1"/>
          </p:nvPr>
        </p:nvSpPr>
        <p:spPr/>
        <p:txBody>
          <a:bodyPr/>
          <a:lstStyle/>
          <a:p>
            <a:endParaRPr/>
          </a:p>
        </p:txBody>
      </p:sp>
      <p:sp>
        <p:nvSpPr>
          <p:cNvPr id="4" name="Slide Number Placeholder 3"/>
          <p:cNvSpPr>
            <a:spLocks noGrp="1"/>
          </p:cNvSpPr>
          <p:nvPr>
            <p:ph type="sldNum" sz="quarter" idx="5"/>
          </p:nvPr>
        </p:nvSpPr>
        <p:spPr/>
        <p:txBody>
          <a:bodyPr/>
          <a:lstStyle/>
          <a:p>
            <a:fld id="{7929F333-FACE-DF47-A5BE-6161F3AB7EC8}" type="slidenum">
              <a:rPr lang="en-US" smtClean="0"/>
              <a:t>18</a:t>
            </a:fld>
            <a:endParaRPr lang="en-US"/>
          </a:p>
        </p:txBody>
      </p:sp>
    </p:spTree>
    <p:extLst>
      <p:ext uri="{BB962C8B-B14F-4D97-AF65-F5344CB8AC3E}">
        <p14:creationId xmlns:p14="http://schemas.microsoft.com/office/powerpoint/2010/main" val="29520867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Culture/ mental health / Monday Motivation</a:t>
            </a:r>
          </a:p>
        </p:txBody>
      </p:sp>
      <p:sp>
        <p:nvSpPr>
          <p:cNvPr id="4" name="Slide Number Placeholder 3"/>
          <p:cNvSpPr>
            <a:spLocks noGrp="1"/>
          </p:cNvSpPr>
          <p:nvPr>
            <p:ph type="sldNum" sz="quarter" idx="5"/>
          </p:nvPr>
        </p:nvSpPr>
        <p:spPr/>
        <p:txBody>
          <a:bodyPr/>
          <a:lstStyle/>
          <a:p>
            <a:fld id="{2FB49D4D-568C-2641-B360-BD4A87EDB853}" type="slidenum">
              <a:rPr lang="en-US" smtClean="0"/>
              <a:t>19</a:t>
            </a:fld>
            <a:endParaRPr lang="en-US"/>
          </a:p>
        </p:txBody>
      </p:sp>
    </p:spTree>
    <p:extLst>
      <p:ext uri="{BB962C8B-B14F-4D97-AF65-F5344CB8AC3E}">
        <p14:creationId xmlns:p14="http://schemas.microsoft.com/office/powerpoint/2010/main" val="16605882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ank you Rachel and Whitney.</a:t>
            </a:r>
          </a:p>
          <a:p>
            <a:r>
              <a:rPr lang="en-US"/>
              <a:t>As Whitney discussed earlier, there are many reasons that people leave jobs.  In this next piece, we will dive a bit deeper into one of those reasons: career advancement </a:t>
            </a:r>
          </a:p>
          <a:p>
            <a:endParaRPr lang="en-US">
              <a:ea typeface="Calibri"/>
              <a:cs typeface="Calibri"/>
            </a:endParaRPr>
          </a:p>
        </p:txBody>
      </p:sp>
      <p:sp>
        <p:nvSpPr>
          <p:cNvPr id="4" name="Slide Number Placeholder 3"/>
          <p:cNvSpPr>
            <a:spLocks noGrp="1"/>
          </p:cNvSpPr>
          <p:nvPr>
            <p:ph type="sldNum" sz="quarter" idx="5"/>
          </p:nvPr>
        </p:nvSpPr>
        <p:spPr/>
        <p:txBody>
          <a:bodyPr/>
          <a:lstStyle/>
          <a:p>
            <a:fld id="{2FB49D4D-568C-2641-B360-BD4A87EDB853}" type="slidenum">
              <a:rPr lang="en-US" smtClean="0"/>
              <a:t>20</a:t>
            </a:fld>
            <a:endParaRPr lang="en-US"/>
          </a:p>
        </p:txBody>
      </p:sp>
    </p:spTree>
    <p:extLst>
      <p:ext uri="{BB962C8B-B14F-4D97-AF65-F5344CB8AC3E}">
        <p14:creationId xmlns:p14="http://schemas.microsoft.com/office/powerpoint/2010/main" val="14624994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 why do career pathways matter?   A company’s greatest asset and often biggest expenditure is their workforce or people.   In medical communications, we work with a set of often highly-driven people with advanced degrees who have a “very particular set of skills that were acquired over a long career”.  It is not simple to just “train up” replacements for these skilled positions thus, retention is important.  Our industry is small and specialized and there is strong competition throughout the industry to get those high performing individuals on our team. Along with competition from employers to hire the best, these driven employees are also looking toward their futures to see how they can advance and continue to grow – it’s human nature. Several recent surveys have reported that potentially more than half of employees are seeking new roles.   </a:t>
            </a:r>
          </a:p>
          <a:p>
            <a:endParaRPr lang="en-US">
              <a:ea typeface="Calibri"/>
              <a:cs typeface="Calibri"/>
            </a:endParaRPr>
          </a:p>
        </p:txBody>
      </p:sp>
      <p:sp>
        <p:nvSpPr>
          <p:cNvPr id="4" name="Slide Number Placeholder 3"/>
          <p:cNvSpPr>
            <a:spLocks noGrp="1"/>
          </p:cNvSpPr>
          <p:nvPr>
            <p:ph type="sldNum" sz="quarter" idx="5"/>
          </p:nvPr>
        </p:nvSpPr>
        <p:spPr/>
        <p:txBody>
          <a:bodyPr/>
          <a:lstStyle/>
          <a:p>
            <a:fld id="{2FB49D4D-568C-2641-B360-BD4A87EDB853}" type="slidenum">
              <a:rPr lang="en-US" smtClean="0"/>
              <a:t>21</a:t>
            </a:fld>
            <a:endParaRPr lang="en-US"/>
          </a:p>
        </p:txBody>
      </p:sp>
    </p:spTree>
    <p:extLst>
      <p:ext uri="{BB962C8B-B14F-4D97-AF65-F5344CB8AC3E}">
        <p14:creationId xmlns:p14="http://schemas.microsoft.com/office/powerpoint/2010/main" val="32902420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y do we need to keep those high performers? Well, one: the cost to recruit, onboard and train new employees is much more than retaining already embedded personnel.  Along with just the financial piece, there is lost productivity, historical knowledge, and efficiency as new employees are onboarded and it can take months or even a year for the team to find a new rhythm and achieve optimal efficiency again following a departure.   </a:t>
            </a:r>
          </a:p>
          <a:p>
            <a:endParaRPr lang="en-US">
              <a:ea typeface="Calibri"/>
              <a:cs typeface="Calibri"/>
            </a:endParaRPr>
          </a:p>
        </p:txBody>
      </p:sp>
      <p:sp>
        <p:nvSpPr>
          <p:cNvPr id="4" name="Slide Number Placeholder 3"/>
          <p:cNvSpPr>
            <a:spLocks noGrp="1"/>
          </p:cNvSpPr>
          <p:nvPr>
            <p:ph type="sldNum" sz="quarter" idx="5"/>
          </p:nvPr>
        </p:nvSpPr>
        <p:spPr/>
        <p:txBody>
          <a:bodyPr/>
          <a:lstStyle/>
          <a:p>
            <a:fld id="{2FB49D4D-568C-2641-B360-BD4A87EDB853}" type="slidenum">
              <a:rPr lang="en-US" smtClean="0"/>
              <a:t>22</a:t>
            </a:fld>
            <a:endParaRPr lang="en-US"/>
          </a:p>
        </p:txBody>
      </p:sp>
    </p:spTree>
    <p:extLst>
      <p:ext uri="{BB962C8B-B14F-4D97-AF65-F5344CB8AC3E}">
        <p14:creationId xmlns:p14="http://schemas.microsoft.com/office/powerpoint/2010/main" val="918077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a:extLst>
              <a:ext uri="{FF2B5EF4-FFF2-40B4-BE49-F238E27FC236}">
                <a16:creationId xmlns:a16="http://schemas.microsoft.com/office/drawing/2014/main" id="{0AD4BD6F-191C-4BA8-B732-2EAB22BB99F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1" name="Notes Placeholder 2">
            <a:extLst>
              <a:ext uri="{FF2B5EF4-FFF2-40B4-BE49-F238E27FC236}">
                <a16:creationId xmlns:a16="http://schemas.microsoft.com/office/drawing/2014/main" id="{0D8BB900-C976-4510-AC7A-69AF68CCE8A3}"/>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US" altLang="en-US" sz="1400">
                <a:ea typeface="ＭＳ Ｐゴシック" panose="020B0600070205080204" pitchFamily="34" charset="-128"/>
              </a:rPr>
              <a:t>First a sincere thank you to all of ISMPP’s titanium and platinum corporate sponsors for their ongoing support of the Society. </a:t>
            </a:r>
          </a:p>
        </p:txBody>
      </p:sp>
      <p:sp>
        <p:nvSpPr>
          <p:cNvPr id="17412" name="Slide Number Placeholder 3">
            <a:extLst>
              <a:ext uri="{FF2B5EF4-FFF2-40B4-BE49-F238E27FC236}">
                <a16:creationId xmlns:a16="http://schemas.microsoft.com/office/drawing/2014/main" id="{23A487AE-EAA4-4C51-939E-92E1857B35B2}"/>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71640" indent="-295768">
              <a:defRPr>
                <a:solidFill>
                  <a:schemeClr val="tx1"/>
                </a:solidFill>
                <a:latin typeface="Arial" panose="020B0604020202020204" pitchFamily="34" charset="0"/>
                <a:cs typeface="Arial" panose="020B0604020202020204" pitchFamily="34" charset="0"/>
              </a:defRPr>
            </a:lvl2pPr>
            <a:lvl3pPr marL="1188030" indent="-236285">
              <a:defRPr>
                <a:solidFill>
                  <a:schemeClr val="tx1"/>
                </a:solidFill>
                <a:latin typeface="Arial" panose="020B0604020202020204" pitchFamily="34" charset="0"/>
                <a:cs typeface="Arial" panose="020B0604020202020204" pitchFamily="34" charset="0"/>
              </a:defRPr>
            </a:lvl3pPr>
            <a:lvl4pPr marL="1663903" indent="-236285">
              <a:defRPr>
                <a:solidFill>
                  <a:schemeClr val="tx1"/>
                </a:solidFill>
                <a:latin typeface="Arial" panose="020B0604020202020204" pitchFamily="34" charset="0"/>
                <a:cs typeface="Arial" panose="020B0604020202020204" pitchFamily="34" charset="0"/>
              </a:defRPr>
            </a:lvl4pPr>
            <a:lvl5pPr marL="2139773" indent="-236285">
              <a:defRPr>
                <a:solidFill>
                  <a:schemeClr val="tx1"/>
                </a:solidFill>
                <a:latin typeface="Arial" panose="020B0604020202020204" pitchFamily="34" charset="0"/>
                <a:cs typeface="Arial" panose="020B0604020202020204" pitchFamily="34" charset="0"/>
              </a:defRPr>
            </a:lvl5pPr>
            <a:lvl6pPr marL="2615646" indent="-236285"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91518" indent="-236285"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567392" indent="-236285"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4043263" indent="-236285"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475872" rtl="0" eaLnBrk="1" fontAlgn="base" latinLnBrk="0" hangingPunct="1">
              <a:lnSpc>
                <a:spcPct val="100000"/>
              </a:lnSpc>
              <a:spcBef>
                <a:spcPct val="0"/>
              </a:spcBef>
              <a:spcAft>
                <a:spcPct val="0"/>
              </a:spcAft>
              <a:buClrTx/>
              <a:buSzTx/>
              <a:buFontTx/>
              <a:buNone/>
              <a:tabLst/>
              <a:defRPr/>
            </a:pPr>
            <a:fld id="{1CA89FEE-7925-49B9-A87F-9A2D7DE389FB}"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ヒラギノ角ゴ Pro W3"/>
              </a:rPr>
              <a:pPr marL="0" marR="0" lvl="0" indent="0" algn="r" defTabSz="475872" rtl="0" eaLnBrk="1" fontAlgn="base" latinLnBrk="0" hangingPunct="1">
                <a:lnSpc>
                  <a:spcPct val="100000"/>
                </a:lnSpc>
                <a:spcBef>
                  <a:spcPct val="0"/>
                </a:spcBef>
                <a:spcAft>
                  <a:spcPct val="0"/>
                </a:spcAft>
                <a:buClrTx/>
                <a:buSzTx/>
                <a:buFontTx/>
                <a:buNone/>
                <a:tabLst/>
                <a:defRPr/>
              </a:pPr>
              <a:t>2</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ヒラギノ角ゴ Pro W3"/>
            </a:endParaRPr>
          </a:p>
        </p:txBody>
      </p:sp>
    </p:spTree>
    <p:extLst>
      <p:ext uri="{BB962C8B-B14F-4D97-AF65-F5344CB8AC3E}">
        <p14:creationId xmlns:p14="http://schemas.microsoft.com/office/powerpoint/2010/main" val="16206653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 what can we do? Over the next few slides we will review some tactics that can help.  There is no “one size fits all” answer and often some combination of tactics will be the key to employee retention for your group. Overall, culture and the value proposition you bring to your employees will be major factors in their decision to stay or leave. Companies should ensure they offer competitive salaries and benefits; reviewing regularly to stay up to date or even be a leader in the industry.  From a culture perspective, normalize and provide dedicated space for regular feedback and open communication. Get ahead of it with culture surveys, regularly scheduled 1:1s, and an open door policy.   Employee retention should be an ongoing initiative and your eyes and ears should be open for changes in what you are hearing from your group to stay ahead of any issues.   Along with strong communication, work to ensure your employees have a fulfilling work life by maintaining a balance between sustainable yet challenging workloads.</a:t>
            </a:r>
          </a:p>
          <a:p>
            <a:endParaRPr lang="en-US">
              <a:ea typeface="Calibri"/>
              <a:cs typeface="Calibri"/>
            </a:endParaRPr>
          </a:p>
        </p:txBody>
      </p:sp>
      <p:sp>
        <p:nvSpPr>
          <p:cNvPr id="4" name="Slide Number Placeholder 3"/>
          <p:cNvSpPr>
            <a:spLocks noGrp="1"/>
          </p:cNvSpPr>
          <p:nvPr>
            <p:ph type="sldNum" sz="quarter" idx="5"/>
          </p:nvPr>
        </p:nvSpPr>
        <p:spPr/>
        <p:txBody>
          <a:bodyPr/>
          <a:lstStyle/>
          <a:p>
            <a:fld id="{2FB49D4D-568C-2641-B360-BD4A87EDB853}" type="slidenum">
              <a:rPr lang="en-US" smtClean="0"/>
              <a:t>23</a:t>
            </a:fld>
            <a:endParaRPr lang="en-US"/>
          </a:p>
        </p:txBody>
      </p:sp>
    </p:spTree>
    <p:extLst>
      <p:ext uri="{BB962C8B-B14F-4D97-AF65-F5344CB8AC3E}">
        <p14:creationId xmlns:p14="http://schemas.microsoft.com/office/powerpoint/2010/main" val="23022395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me other items or tools to consider include making strong mentorship programs available, working with individuals to customize their career paths and providing cross-training opportunities.  Also, one of the easiest things you can do right now is promote a positive work-life balance and allow for flexibility.</a:t>
            </a:r>
          </a:p>
          <a:p>
            <a:endParaRPr lang="en-US">
              <a:ea typeface="Calibri"/>
              <a:cs typeface="Calibri"/>
            </a:endParaRPr>
          </a:p>
        </p:txBody>
      </p:sp>
      <p:sp>
        <p:nvSpPr>
          <p:cNvPr id="4" name="Slide Number Placeholder 3"/>
          <p:cNvSpPr>
            <a:spLocks noGrp="1"/>
          </p:cNvSpPr>
          <p:nvPr>
            <p:ph type="sldNum" sz="quarter" idx="5"/>
          </p:nvPr>
        </p:nvSpPr>
        <p:spPr/>
        <p:txBody>
          <a:bodyPr/>
          <a:lstStyle/>
          <a:p>
            <a:fld id="{2FB49D4D-568C-2641-B360-BD4A87EDB853}" type="slidenum">
              <a:rPr lang="en-US" smtClean="0"/>
              <a:t>24</a:t>
            </a:fld>
            <a:endParaRPr lang="en-US"/>
          </a:p>
        </p:txBody>
      </p:sp>
    </p:spTree>
    <p:extLst>
      <p:ext uri="{BB962C8B-B14F-4D97-AF65-F5344CB8AC3E}">
        <p14:creationId xmlns:p14="http://schemas.microsoft.com/office/powerpoint/2010/main" val="39116782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Your organization likely already has access to some of the tools listed below like learning systems, collaborations with professional organizations, and tuition reimbursement programs. Help your team by regularly promoting and educating them on the resources available to them.  Encourage full utilization of these tools and, from a leadership perspective, ensure that these systems and tools are reviewed and updated regularly as well to stay on top of industry trends and provide the best value and experience for your employees.</a:t>
            </a:r>
          </a:p>
          <a:p>
            <a:r>
              <a:rPr lang="en-US"/>
              <a:t>All this being said, even if you are engaged and open and employ all of these tactics and tools at your disposal; some employees will still move on to other roles, and that’s OK! This should be an ongoing cycle of introspection and learning on all sides to continue to try to optimize the experience in your group.  A departure allows new ideas to join the team. A few things to remember: how you treat departing employees and handle change management in teams speaks volumes to your culture and will strongly factor into retention of other employees.</a:t>
            </a:r>
            <a:endParaRPr lang="en-US">
              <a:ea typeface="Calibri"/>
              <a:cs typeface="Calibri"/>
            </a:endParaRPr>
          </a:p>
          <a:p>
            <a:endParaRPr lang="en-US">
              <a:ea typeface="Calibri"/>
              <a:cs typeface="Calibri"/>
            </a:endParaRPr>
          </a:p>
          <a:p>
            <a:r>
              <a:rPr lang="en-US">
                <a:ea typeface="Calibri"/>
                <a:cs typeface="Calibri"/>
              </a:rPr>
              <a:t>With that, I'll turn it back over to Whitney for our panel discussion</a:t>
            </a:r>
          </a:p>
          <a:p>
            <a:endParaRPr lang="en-US">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2FB49D4D-568C-2641-B360-BD4A87EDB853}" type="slidenum">
              <a:rPr lang="en-US" smtClean="0"/>
              <a:t>25</a:t>
            </a:fld>
            <a:endParaRPr lang="en-US"/>
          </a:p>
        </p:txBody>
      </p:sp>
    </p:spTree>
    <p:extLst>
      <p:ext uri="{BB962C8B-B14F-4D97-AF65-F5344CB8AC3E}">
        <p14:creationId xmlns:p14="http://schemas.microsoft.com/office/powerpoint/2010/main" val="1580695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Thank you to both Rachel Kennedy and Rachel Sopko-Bibb for your excellent presentations. It is now time to move to the panel discussion section of the webinar. We polled attendees a few weeks ago asking for specific questions they wanted answered during the webinar and we have few to go through here today. Our first question is addressed to.....</a:t>
            </a:r>
          </a:p>
          <a:p>
            <a:endParaRPr lang="en-US">
              <a:ea typeface="Calibri"/>
              <a:cs typeface="Calibri"/>
            </a:endParaRPr>
          </a:p>
          <a:p>
            <a:pPr marL="171450" indent="-171450">
              <a:buFont typeface="Arial"/>
              <a:buChar char="•"/>
            </a:pPr>
            <a:r>
              <a:rPr lang="en-US"/>
              <a:t>What are some good ways to keep new team members/junior writers engaged/motivated/connected in the remote environment? Rachel SB and Rachel Kennedy</a:t>
            </a:r>
          </a:p>
          <a:p>
            <a:pPr marL="171450" indent="-171450">
              <a:buFont typeface="Arial"/>
              <a:buChar char="•"/>
            </a:pPr>
            <a:r>
              <a:rPr lang="en-US"/>
              <a:t>How can we manage changing expectations of new team members? Rachel Kennedy</a:t>
            </a:r>
          </a:p>
          <a:p>
            <a:pPr marL="171450" indent="-171450">
              <a:buFont typeface="Arial"/>
              <a:buChar char="•"/>
            </a:pPr>
            <a:r>
              <a:rPr lang="en-US"/>
              <a:t>What are recent innovative strategies for creating work-life balance? How can companies </a:t>
            </a:r>
            <a:r>
              <a:rPr lang="en-US" err="1"/>
              <a:t>recognise</a:t>
            </a:r>
            <a:r>
              <a:rPr lang="en-US"/>
              <a:t> and reward top performers?</a:t>
            </a:r>
            <a:endParaRPr lang="en-US">
              <a:ea typeface="Calibri"/>
              <a:cs typeface="Calibri"/>
            </a:endParaRPr>
          </a:p>
          <a:p>
            <a:pPr marL="171450" indent="-171450">
              <a:buFont typeface="Arial"/>
              <a:buChar char="•"/>
            </a:pPr>
            <a:r>
              <a:rPr lang="en-US"/>
              <a:t>Impact on retention and pay due to current market situation/recession</a:t>
            </a:r>
            <a:endParaRPr lang="en-US">
              <a:ea typeface="Calibri"/>
              <a:cs typeface="Calibri"/>
            </a:endParaRPr>
          </a:p>
          <a:p>
            <a:pPr marL="171450" indent="-171450">
              <a:buFont typeface="Arial"/>
              <a:buChar char="•"/>
            </a:pPr>
            <a:r>
              <a:rPr lang="en-US"/>
              <a:t>Are there any skills/trainings that would make a candidate more attractive to hire?</a:t>
            </a:r>
            <a:endParaRPr lang="en-US">
              <a:ea typeface="Calibri"/>
              <a:cs typeface="Calibri"/>
            </a:endParaRPr>
          </a:p>
          <a:p>
            <a:pPr marL="171450" indent="-171450">
              <a:buFont typeface="Arial"/>
              <a:buChar char="•"/>
            </a:pPr>
            <a:r>
              <a:rPr lang="en-US"/>
              <a:t>How can we recruit and retain colleagues with a diverse range of educational backgrounds in medical communications, particularly medical writing? Whitney and Rachel SB</a:t>
            </a:r>
            <a:endParaRPr lang="en-US">
              <a:ea typeface="Calibri"/>
              <a:cs typeface="Calibri"/>
            </a:endParaRPr>
          </a:p>
          <a:p>
            <a:pPr marL="171450" indent="-171450">
              <a:buFont typeface="Arial"/>
              <a:buChar char="•"/>
            </a:pPr>
            <a:r>
              <a:rPr lang="en-US"/>
              <a:t>What is your top 'perk' that a company can offer? Whitney</a:t>
            </a:r>
            <a:endParaRPr lang="en-US">
              <a:ea typeface="Calibri"/>
              <a:cs typeface="Calibri"/>
            </a:endParaRPr>
          </a:p>
          <a:p>
            <a:r>
              <a:rPr lang="en-US"/>
              <a:t> </a:t>
            </a:r>
            <a:endParaRPr lang="en-US">
              <a:ea typeface="Calibri"/>
              <a:cs typeface="Calibri"/>
            </a:endParaRPr>
          </a:p>
          <a:p>
            <a:r>
              <a:rPr lang="en-US"/>
              <a:t>Additional questions and thoughts on </a:t>
            </a:r>
            <a:r>
              <a:rPr lang="en-US" b="1"/>
              <a:t>who could speak to it</a:t>
            </a:r>
            <a:r>
              <a:rPr lang="en-US"/>
              <a:t>:</a:t>
            </a:r>
            <a:endParaRPr lang="en-US">
              <a:ea typeface="Calibri"/>
              <a:cs typeface="Calibri"/>
            </a:endParaRPr>
          </a:p>
          <a:p>
            <a:pPr marL="171450" indent="-171450">
              <a:buFont typeface="Arial"/>
              <a:buChar char="•"/>
            </a:pPr>
            <a:r>
              <a:rPr lang="en-US"/>
              <a:t>What is a specific recruiting challenge that is specific to the medical publication profession that may not be present in others? Whitney</a:t>
            </a:r>
            <a:endParaRPr lang="en-US">
              <a:ea typeface="Calibri"/>
              <a:cs typeface="Calibri"/>
            </a:endParaRPr>
          </a:p>
          <a:p>
            <a:pPr marL="171450" indent="-171450">
              <a:buFont typeface="Arial"/>
              <a:buChar char="•"/>
            </a:pPr>
            <a:r>
              <a:rPr lang="en-US"/>
              <a:t>What is a specific retention challenge that is specific to the medical publication profession that may not be present in others? Rachel SB and Rachel Kennedy</a:t>
            </a:r>
            <a:endParaRPr lang="en-US">
              <a:ea typeface="Calibri"/>
              <a:cs typeface="Calibri"/>
            </a:endParaRPr>
          </a:p>
          <a:p>
            <a:pPr marL="171450" indent="-171450">
              <a:buFont typeface="Arial"/>
              <a:buChar char="•"/>
            </a:pPr>
            <a:r>
              <a:rPr lang="en-US"/>
              <a:t>What are the top five reasons people leave? Whitney (I know you covered in presentation, but may be good to actually have a top five if possible)</a:t>
            </a:r>
            <a:endParaRPr lang="en-US">
              <a:ea typeface="Calibri"/>
              <a:cs typeface="Calibri"/>
            </a:endParaRPr>
          </a:p>
          <a:p>
            <a:pPr marL="171450" indent="-171450">
              <a:buFont typeface="Arial"/>
              <a:buChar char="•"/>
            </a:pPr>
            <a:r>
              <a:rPr lang="en-US"/>
              <a:t>Do you have any advice/best practices for onboarding new employees in a 100% remote environment? Rachel SB (I thought this was a good question and does have some value as to the difference. How is orientation different, how do you make sure you are making them feel welcome in remote environment, what tactics do you use to ensure they feel as connected to the organization as they would in an in-person environment, how do you manage employee performance and/or development a bit differently in remote environment, how do you keep the same pulse on new employees as you would in an in-person environment…Just some thoughts) </a:t>
            </a:r>
            <a:endParaRPr lang="en-US">
              <a:ea typeface="Calibri"/>
              <a:cs typeface="Calibri"/>
            </a:endParaRPr>
          </a:p>
          <a:p>
            <a:endParaRPr lang="en-US">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2FB49D4D-568C-2641-B360-BD4A87EDB853}" type="slidenum">
              <a:rPr lang="en-US" smtClean="0"/>
              <a:t>26</a:t>
            </a:fld>
            <a:endParaRPr lang="en-US"/>
          </a:p>
        </p:txBody>
      </p:sp>
    </p:spTree>
    <p:extLst>
      <p:ext uri="{BB962C8B-B14F-4D97-AF65-F5344CB8AC3E}">
        <p14:creationId xmlns:p14="http://schemas.microsoft.com/office/powerpoint/2010/main" val="14476646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nd now it's time to answer your live questions. As a reminder, please type them into the Q&amp;A box at the bottom of your screen. </a:t>
            </a:r>
          </a:p>
        </p:txBody>
      </p:sp>
      <p:sp>
        <p:nvSpPr>
          <p:cNvPr id="4" name="Slide Number Placeholder 3"/>
          <p:cNvSpPr>
            <a:spLocks noGrp="1"/>
          </p:cNvSpPr>
          <p:nvPr>
            <p:ph type="sldNum" sz="quarter" idx="5"/>
          </p:nvPr>
        </p:nvSpPr>
        <p:spPr/>
        <p:txBody>
          <a:bodyPr/>
          <a:lstStyle/>
          <a:p>
            <a:fld id="{2FB49D4D-568C-2641-B360-BD4A87EDB853}" type="slidenum">
              <a:rPr lang="en-US" smtClean="0"/>
              <a:t>27</a:t>
            </a:fld>
            <a:endParaRPr lang="en-US"/>
          </a:p>
        </p:txBody>
      </p:sp>
    </p:spTree>
    <p:extLst>
      <p:ext uri="{BB962C8B-B14F-4D97-AF65-F5344CB8AC3E}">
        <p14:creationId xmlns:p14="http://schemas.microsoft.com/office/powerpoint/2010/main" val="26942881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72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defRPr/>
            </a:pPr>
            <a:r>
              <a:rPr lang="en-US" altLang="en-US" sz="1600">
                <a:cs typeface="Calibri"/>
              </a:rPr>
              <a:t>Here is a snapshot of the upcoming ISMPP U October, an open access webinar in honor of International Open Access Day focusing on Copyright Confusion; Demystifying Creative Commons Licenses.</a:t>
            </a:r>
          </a:p>
          <a:p>
            <a:pPr>
              <a:spcBef>
                <a:spcPct val="0"/>
              </a:spcBef>
              <a:defRPr/>
            </a:pPr>
            <a:endParaRPr lang="en-US" altLang="en-US" sz="1600">
              <a:cs typeface="Calibri"/>
            </a:endParaRPr>
          </a:p>
          <a:p>
            <a:pPr>
              <a:spcBef>
                <a:spcPct val="0"/>
              </a:spcBef>
              <a:defRPr/>
            </a:pPr>
            <a:r>
              <a:rPr lang="en-US" altLang="en-US" sz="1600">
                <a:cs typeface="Calibri"/>
              </a:rPr>
              <a:t>Also be on the lookout for the November ISMPP U centering on EPI. Registration is now open.</a:t>
            </a:r>
          </a:p>
        </p:txBody>
      </p:sp>
      <p:sp>
        <p:nvSpPr>
          <p:cNvPr id="1372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93120" indent="-304031">
              <a:defRPr>
                <a:solidFill>
                  <a:schemeClr val="tx1"/>
                </a:solidFill>
                <a:latin typeface="Calibri" pitchFamily="34" charset="0"/>
              </a:defRPr>
            </a:lvl2pPr>
            <a:lvl3pPr marL="1221077" indent="-242893">
              <a:defRPr>
                <a:solidFill>
                  <a:schemeClr val="tx1"/>
                </a:solidFill>
                <a:latin typeface="Calibri" pitchFamily="34" charset="0"/>
              </a:defRPr>
            </a:lvl3pPr>
            <a:lvl4pPr marL="1710169" indent="-242893">
              <a:defRPr>
                <a:solidFill>
                  <a:schemeClr val="tx1"/>
                </a:solidFill>
                <a:latin typeface="Calibri" pitchFamily="34" charset="0"/>
              </a:defRPr>
            </a:lvl4pPr>
            <a:lvl5pPr marL="2199258" indent="-242893">
              <a:defRPr>
                <a:solidFill>
                  <a:schemeClr val="tx1"/>
                </a:solidFill>
                <a:latin typeface="Calibri" pitchFamily="34" charset="0"/>
              </a:defRPr>
            </a:lvl5pPr>
            <a:lvl6pPr marL="2675131" indent="-242893" fontAlgn="base">
              <a:spcBef>
                <a:spcPct val="0"/>
              </a:spcBef>
              <a:spcAft>
                <a:spcPct val="0"/>
              </a:spcAft>
              <a:defRPr>
                <a:solidFill>
                  <a:schemeClr val="tx1"/>
                </a:solidFill>
                <a:latin typeface="Calibri" pitchFamily="34" charset="0"/>
              </a:defRPr>
            </a:lvl6pPr>
            <a:lvl7pPr marL="3151003" indent="-242893" fontAlgn="base">
              <a:spcBef>
                <a:spcPct val="0"/>
              </a:spcBef>
              <a:spcAft>
                <a:spcPct val="0"/>
              </a:spcAft>
              <a:defRPr>
                <a:solidFill>
                  <a:schemeClr val="tx1"/>
                </a:solidFill>
                <a:latin typeface="Calibri" pitchFamily="34" charset="0"/>
              </a:defRPr>
            </a:lvl7pPr>
            <a:lvl8pPr marL="3626875" indent="-242893" fontAlgn="base">
              <a:spcBef>
                <a:spcPct val="0"/>
              </a:spcBef>
              <a:spcAft>
                <a:spcPct val="0"/>
              </a:spcAft>
              <a:defRPr>
                <a:solidFill>
                  <a:schemeClr val="tx1"/>
                </a:solidFill>
                <a:latin typeface="Calibri" pitchFamily="34" charset="0"/>
              </a:defRPr>
            </a:lvl8pPr>
            <a:lvl9pPr marL="4102748" indent="-242893" fontAlgn="base">
              <a:spcBef>
                <a:spcPct val="0"/>
              </a:spcBef>
              <a:spcAft>
                <a:spcPct val="0"/>
              </a:spcAft>
              <a:defRPr>
                <a:solidFill>
                  <a:schemeClr val="tx1"/>
                </a:solidFill>
                <a:latin typeface="Calibri" pitchFamily="34" charset="0"/>
              </a:defRPr>
            </a:lvl9pPr>
          </a:lstStyle>
          <a:p>
            <a:pPr marL="0" marR="0" lvl="0" indent="0" algn="r" defTabSz="951964" rtl="0" eaLnBrk="1" fontAlgn="base" latinLnBrk="0" hangingPunct="1">
              <a:lnSpc>
                <a:spcPct val="100000"/>
              </a:lnSpc>
              <a:spcBef>
                <a:spcPct val="0"/>
              </a:spcBef>
              <a:spcAft>
                <a:spcPct val="0"/>
              </a:spcAft>
              <a:buClrTx/>
              <a:buSzTx/>
              <a:buFontTx/>
              <a:buNone/>
              <a:tabLst/>
              <a:defRPr/>
            </a:pPr>
            <a:fld id="{C415E4E8-E76D-446B-9C18-288379B8CA0A}" type="slidenum">
              <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rPr>
              <a:pPr marL="0" marR="0" lvl="0" indent="0" algn="r" defTabSz="951964" rtl="0" eaLnBrk="1" fontAlgn="base" latinLnBrk="0" hangingPunct="1">
                <a:lnSpc>
                  <a:spcPct val="100000"/>
                </a:lnSpc>
                <a:spcBef>
                  <a:spcPct val="0"/>
                </a:spcBef>
                <a:spcAft>
                  <a:spcPct val="0"/>
                </a:spcAft>
                <a:buClrTx/>
                <a:buSzTx/>
                <a:buFontTx/>
                <a:buNone/>
                <a:tabLst/>
                <a:defRPr/>
              </a:pPr>
              <a:t>28</a:t>
            </a:fld>
            <a:endPar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endParaRPr>
          </a:p>
        </p:txBody>
      </p:sp>
    </p:spTree>
    <p:extLst>
      <p:ext uri="{BB962C8B-B14F-4D97-AF65-F5344CB8AC3E}">
        <p14:creationId xmlns:p14="http://schemas.microsoft.com/office/powerpoint/2010/main" val="23036833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Slide Image Placeholder 1">
            <a:extLst>
              <a:ext uri="{FF2B5EF4-FFF2-40B4-BE49-F238E27FC236}">
                <a16:creationId xmlns:a16="http://schemas.microsoft.com/office/drawing/2014/main" id="{216E7ADC-8A83-4087-A107-663E48FF09E1}"/>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5715" name="Notes Placeholder 2">
            <a:extLst>
              <a:ext uri="{FF2B5EF4-FFF2-40B4-BE49-F238E27FC236}">
                <a16:creationId xmlns:a16="http://schemas.microsoft.com/office/drawing/2014/main" id="{D29E4F90-3349-4C73-95A0-2A3D7FA227EB}"/>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r>
              <a:rPr lang="en-US" altLang="en-US" sz="1400"/>
              <a:t>Thank you again for attending today’s webinar. Please take a moment to fill out the survey link that will be sent to you.</a:t>
            </a:r>
          </a:p>
          <a:p>
            <a:pPr>
              <a:spcBef>
                <a:spcPct val="0"/>
              </a:spcBef>
            </a:pPr>
            <a:endParaRPr lang="en-US" altLang="en-US" sz="1400"/>
          </a:p>
          <a:p>
            <a:pPr>
              <a:spcBef>
                <a:spcPct val="0"/>
              </a:spcBef>
            </a:pPr>
            <a:r>
              <a:rPr lang="en-US" altLang="en-US" sz="1400"/>
              <a:t>After closing out of ZOOM, please click the ‘continue’ button on your screen to take a short survey. </a:t>
            </a:r>
          </a:p>
          <a:p>
            <a:pPr>
              <a:spcBef>
                <a:spcPct val="0"/>
              </a:spcBef>
            </a:pPr>
            <a:endParaRPr lang="en-US" altLang="en-US" sz="1400"/>
          </a:p>
          <a:p>
            <a:pPr>
              <a:spcBef>
                <a:spcPct val="0"/>
              </a:spcBef>
            </a:pPr>
            <a:r>
              <a:rPr lang="en-US" altLang="en-US" sz="1400"/>
              <a:t>Thank you!</a:t>
            </a:r>
          </a:p>
        </p:txBody>
      </p:sp>
      <p:sp>
        <p:nvSpPr>
          <p:cNvPr id="115716" name="Slide Number Placeholder 3">
            <a:extLst>
              <a:ext uri="{FF2B5EF4-FFF2-40B4-BE49-F238E27FC236}">
                <a16:creationId xmlns:a16="http://schemas.microsoft.com/office/drawing/2014/main" id="{7DD3FBF6-92DD-4D6D-894B-35E6CF3D91FE}"/>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63379" indent="-292465">
              <a:defRPr>
                <a:solidFill>
                  <a:schemeClr val="tx1"/>
                </a:solidFill>
                <a:latin typeface="Arial" panose="020B0604020202020204" pitchFamily="34" charset="0"/>
                <a:cs typeface="Arial" panose="020B0604020202020204" pitchFamily="34" charset="0"/>
              </a:defRPr>
            </a:lvl2pPr>
            <a:lvl3pPr marL="1174810" indent="-234631">
              <a:defRPr>
                <a:solidFill>
                  <a:schemeClr val="tx1"/>
                </a:solidFill>
                <a:latin typeface="Arial" panose="020B0604020202020204" pitchFamily="34" charset="0"/>
                <a:cs typeface="Arial" panose="020B0604020202020204" pitchFamily="34" charset="0"/>
              </a:defRPr>
            </a:lvl3pPr>
            <a:lvl4pPr marL="1645725" indent="-234631">
              <a:defRPr>
                <a:solidFill>
                  <a:schemeClr val="tx1"/>
                </a:solidFill>
                <a:latin typeface="Arial" panose="020B0604020202020204" pitchFamily="34" charset="0"/>
                <a:cs typeface="Arial" panose="020B0604020202020204" pitchFamily="34" charset="0"/>
              </a:defRPr>
            </a:lvl4pPr>
            <a:lvl5pPr marL="2116642" indent="-234631">
              <a:defRPr>
                <a:solidFill>
                  <a:schemeClr val="tx1"/>
                </a:solidFill>
                <a:latin typeface="Arial" panose="020B0604020202020204" pitchFamily="34" charset="0"/>
                <a:cs typeface="Arial" panose="020B0604020202020204" pitchFamily="34" charset="0"/>
              </a:defRPr>
            </a:lvl5pPr>
            <a:lvl6pPr marL="2592515" indent="-234631"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68387" indent="-234631"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544260" indent="-234631"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4020131" indent="-234631"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475872" rtl="0" eaLnBrk="1" fontAlgn="base" latinLnBrk="0" hangingPunct="1">
              <a:lnSpc>
                <a:spcPct val="100000"/>
              </a:lnSpc>
              <a:spcBef>
                <a:spcPct val="0"/>
              </a:spcBef>
              <a:spcAft>
                <a:spcPct val="0"/>
              </a:spcAft>
              <a:buClrTx/>
              <a:buSzTx/>
              <a:buFontTx/>
              <a:buNone/>
              <a:tabLst/>
              <a:defRPr/>
            </a:pPr>
            <a:fld id="{E824FA45-32E1-4B86-85CE-3B8753D9A46D}"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ヒラギノ角ゴ Pro W3"/>
              </a:rPr>
              <a:pPr marL="0" marR="0" lvl="0" indent="0" algn="r" defTabSz="475872" rtl="0" eaLnBrk="1" fontAlgn="base" latinLnBrk="0" hangingPunct="1">
                <a:lnSpc>
                  <a:spcPct val="100000"/>
                </a:lnSpc>
                <a:spcBef>
                  <a:spcPct val="0"/>
                </a:spcBef>
                <a:spcAft>
                  <a:spcPct val="0"/>
                </a:spcAft>
                <a:buClrTx/>
                <a:buSzTx/>
                <a:buFontTx/>
                <a:buNone/>
                <a:tabLst/>
                <a:defRPr/>
              </a:pPr>
              <a:t>29</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ヒラギノ角ゴ Pro W3"/>
            </a:endParaRPr>
          </a:p>
        </p:txBody>
      </p:sp>
    </p:spTree>
    <p:extLst>
      <p:ext uri="{BB962C8B-B14F-4D97-AF65-F5344CB8AC3E}">
        <p14:creationId xmlns:p14="http://schemas.microsoft.com/office/powerpoint/2010/main" val="28217755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6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sz="1500">
                <a:cs typeface="Calibri"/>
              </a:rPr>
              <a:t>And, for those who are seeking to become CMPP-certified or looking to renew your certification, The application deadline for the next exam window is February 1, 2025</a:t>
            </a:r>
            <a:endParaRPr lang="en-AU" altLang="en-US" sz="1500">
              <a:cs typeface="Calibri"/>
            </a:endParaRPr>
          </a:p>
        </p:txBody>
      </p:sp>
      <p:sp>
        <p:nvSpPr>
          <p:cNvPr id="1361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93120" indent="-304031">
              <a:defRPr>
                <a:solidFill>
                  <a:schemeClr val="tx1"/>
                </a:solidFill>
                <a:latin typeface="Calibri" pitchFamily="34" charset="0"/>
              </a:defRPr>
            </a:lvl2pPr>
            <a:lvl3pPr marL="1221077" indent="-242893">
              <a:defRPr>
                <a:solidFill>
                  <a:schemeClr val="tx1"/>
                </a:solidFill>
                <a:latin typeface="Calibri" pitchFamily="34" charset="0"/>
              </a:defRPr>
            </a:lvl3pPr>
            <a:lvl4pPr marL="1710169" indent="-242893">
              <a:defRPr>
                <a:solidFill>
                  <a:schemeClr val="tx1"/>
                </a:solidFill>
                <a:latin typeface="Calibri" pitchFamily="34" charset="0"/>
              </a:defRPr>
            </a:lvl4pPr>
            <a:lvl5pPr marL="2199258" indent="-242893">
              <a:defRPr>
                <a:solidFill>
                  <a:schemeClr val="tx1"/>
                </a:solidFill>
                <a:latin typeface="Calibri" pitchFamily="34" charset="0"/>
              </a:defRPr>
            </a:lvl5pPr>
            <a:lvl6pPr marL="2675131" indent="-242893" fontAlgn="base">
              <a:spcBef>
                <a:spcPct val="0"/>
              </a:spcBef>
              <a:spcAft>
                <a:spcPct val="0"/>
              </a:spcAft>
              <a:defRPr>
                <a:solidFill>
                  <a:schemeClr val="tx1"/>
                </a:solidFill>
                <a:latin typeface="Calibri" pitchFamily="34" charset="0"/>
              </a:defRPr>
            </a:lvl6pPr>
            <a:lvl7pPr marL="3151003" indent="-242893" fontAlgn="base">
              <a:spcBef>
                <a:spcPct val="0"/>
              </a:spcBef>
              <a:spcAft>
                <a:spcPct val="0"/>
              </a:spcAft>
              <a:defRPr>
                <a:solidFill>
                  <a:schemeClr val="tx1"/>
                </a:solidFill>
                <a:latin typeface="Calibri" pitchFamily="34" charset="0"/>
              </a:defRPr>
            </a:lvl7pPr>
            <a:lvl8pPr marL="3626875" indent="-242893" fontAlgn="base">
              <a:spcBef>
                <a:spcPct val="0"/>
              </a:spcBef>
              <a:spcAft>
                <a:spcPct val="0"/>
              </a:spcAft>
              <a:defRPr>
                <a:solidFill>
                  <a:schemeClr val="tx1"/>
                </a:solidFill>
                <a:latin typeface="Calibri" pitchFamily="34" charset="0"/>
              </a:defRPr>
            </a:lvl8pPr>
            <a:lvl9pPr marL="4102748" indent="-242893" fontAlgn="base">
              <a:spcBef>
                <a:spcPct val="0"/>
              </a:spcBef>
              <a:spcAft>
                <a:spcPct val="0"/>
              </a:spcAft>
              <a:defRPr>
                <a:solidFill>
                  <a:schemeClr val="tx1"/>
                </a:solidFill>
                <a:latin typeface="Calibri" pitchFamily="34" charset="0"/>
              </a:defRPr>
            </a:lvl9pPr>
          </a:lstStyle>
          <a:p>
            <a:pPr marL="0" marR="0" lvl="0" indent="0" algn="r" defTabSz="951964" rtl="0" eaLnBrk="1" fontAlgn="base" latinLnBrk="0" hangingPunct="1">
              <a:lnSpc>
                <a:spcPct val="100000"/>
              </a:lnSpc>
              <a:spcBef>
                <a:spcPct val="0"/>
              </a:spcBef>
              <a:spcAft>
                <a:spcPct val="0"/>
              </a:spcAft>
              <a:buClrTx/>
              <a:buSzTx/>
              <a:buFontTx/>
              <a:buNone/>
              <a:tabLst/>
              <a:defRPr/>
            </a:pPr>
            <a:fld id="{F6F8AE99-151B-4F30-A9F5-8B97ED74D97C}" type="slidenum">
              <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rPr>
              <a:pPr marL="0" marR="0" lvl="0" indent="0" algn="r" defTabSz="951964" rtl="0" eaLnBrk="1" fontAlgn="base" latinLnBrk="0" hangingPunct="1">
                <a:lnSpc>
                  <a:spcPct val="100000"/>
                </a:lnSpc>
                <a:spcBef>
                  <a:spcPct val="0"/>
                </a:spcBef>
                <a:spcAft>
                  <a:spcPct val="0"/>
                </a:spcAft>
                <a:buClrTx/>
                <a:buSzTx/>
                <a:buFontTx/>
                <a:buNone/>
                <a:tabLst/>
                <a:defRPr/>
              </a:pPr>
              <a:t>3</a:t>
            </a:fld>
            <a:endPar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endParaRPr>
          </a:p>
        </p:txBody>
      </p:sp>
    </p:spTree>
    <p:extLst>
      <p:ext uri="{BB962C8B-B14F-4D97-AF65-F5344CB8AC3E}">
        <p14:creationId xmlns:p14="http://schemas.microsoft.com/office/powerpoint/2010/main" val="36593182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6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57150">
              <a:lnSpc>
                <a:spcPct val="90000"/>
              </a:lnSpc>
              <a:spcBef>
                <a:spcPts val="600"/>
              </a:spcBef>
              <a:defRPr/>
            </a:pPr>
            <a:r>
              <a:rPr lang="en-US" sz="1500" spc="-23">
                <a:cs typeface="Calibri"/>
              </a:rPr>
              <a:t>Remember to Save the Date for the new ISMPP Academy, a Fall meeting format in Philadelphia this year, November 13-14. Be on the lookout, registration is now open.</a:t>
            </a:r>
          </a:p>
        </p:txBody>
      </p:sp>
      <p:sp>
        <p:nvSpPr>
          <p:cNvPr id="1361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93120" indent="-304031">
              <a:defRPr>
                <a:solidFill>
                  <a:schemeClr val="tx1"/>
                </a:solidFill>
                <a:latin typeface="Calibri" pitchFamily="34" charset="0"/>
              </a:defRPr>
            </a:lvl2pPr>
            <a:lvl3pPr marL="1221077" indent="-242893">
              <a:defRPr>
                <a:solidFill>
                  <a:schemeClr val="tx1"/>
                </a:solidFill>
                <a:latin typeface="Calibri" pitchFamily="34" charset="0"/>
              </a:defRPr>
            </a:lvl3pPr>
            <a:lvl4pPr marL="1710169" indent="-242893">
              <a:defRPr>
                <a:solidFill>
                  <a:schemeClr val="tx1"/>
                </a:solidFill>
                <a:latin typeface="Calibri" pitchFamily="34" charset="0"/>
              </a:defRPr>
            </a:lvl4pPr>
            <a:lvl5pPr marL="2199258" indent="-242893">
              <a:defRPr>
                <a:solidFill>
                  <a:schemeClr val="tx1"/>
                </a:solidFill>
                <a:latin typeface="Calibri" pitchFamily="34" charset="0"/>
              </a:defRPr>
            </a:lvl5pPr>
            <a:lvl6pPr marL="2675131" indent="-242893" fontAlgn="base">
              <a:spcBef>
                <a:spcPct val="0"/>
              </a:spcBef>
              <a:spcAft>
                <a:spcPct val="0"/>
              </a:spcAft>
              <a:defRPr>
                <a:solidFill>
                  <a:schemeClr val="tx1"/>
                </a:solidFill>
                <a:latin typeface="Calibri" pitchFamily="34" charset="0"/>
              </a:defRPr>
            </a:lvl6pPr>
            <a:lvl7pPr marL="3151003" indent="-242893" fontAlgn="base">
              <a:spcBef>
                <a:spcPct val="0"/>
              </a:spcBef>
              <a:spcAft>
                <a:spcPct val="0"/>
              </a:spcAft>
              <a:defRPr>
                <a:solidFill>
                  <a:schemeClr val="tx1"/>
                </a:solidFill>
                <a:latin typeface="Calibri" pitchFamily="34" charset="0"/>
              </a:defRPr>
            </a:lvl7pPr>
            <a:lvl8pPr marL="3626875" indent="-242893" fontAlgn="base">
              <a:spcBef>
                <a:spcPct val="0"/>
              </a:spcBef>
              <a:spcAft>
                <a:spcPct val="0"/>
              </a:spcAft>
              <a:defRPr>
                <a:solidFill>
                  <a:schemeClr val="tx1"/>
                </a:solidFill>
                <a:latin typeface="Calibri" pitchFamily="34" charset="0"/>
              </a:defRPr>
            </a:lvl8pPr>
            <a:lvl9pPr marL="4102748" indent="-242893" fontAlgn="base">
              <a:spcBef>
                <a:spcPct val="0"/>
              </a:spcBef>
              <a:spcAft>
                <a:spcPct val="0"/>
              </a:spcAft>
              <a:defRPr>
                <a:solidFill>
                  <a:schemeClr val="tx1"/>
                </a:solidFill>
                <a:latin typeface="Calibri" pitchFamily="34" charset="0"/>
              </a:defRPr>
            </a:lvl9pPr>
          </a:lstStyle>
          <a:p>
            <a:pPr marL="0" marR="0" lvl="0" indent="0" algn="r" defTabSz="951964" rtl="0" eaLnBrk="1" fontAlgn="base" latinLnBrk="0" hangingPunct="1">
              <a:lnSpc>
                <a:spcPct val="100000"/>
              </a:lnSpc>
              <a:spcBef>
                <a:spcPct val="0"/>
              </a:spcBef>
              <a:spcAft>
                <a:spcPct val="0"/>
              </a:spcAft>
              <a:buClrTx/>
              <a:buSzTx/>
              <a:buFontTx/>
              <a:buNone/>
              <a:tabLst/>
              <a:defRPr/>
            </a:pPr>
            <a:fld id="{F6F8AE99-151B-4F30-A9F5-8B97ED74D97C}" type="slidenum">
              <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rPr>
              <a:pPr marL="0" marR="0" lvl="0" indent="0" algn="r" defTabSz="951964" rtl="0" eaLnBrk="1" fontAlgn="base" latinLnBrk="0" hangingPunct="1">
                <a:lnSpc>
                  <a:spcPct val="100000"/>
                </a:lnSpc>
                <a:spcBef>
                  <a:spcPct val="0"/>
                </a:spcBef>
                <a:spcAft>
                  <a:spcPct val="0"/>
                </a:spcAft>
                <a:buClrTx/>
                <a:buSzTx/>
                <a:buFontTx/>
                <a:buNone/>
                <a:tabLst/>
                <a:defRPr/>
              </a:pPr>
              <a:t>4</a:t>
            </a:fld>
            <a:endPar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endParaRPr>
          </a:p>
        </p:txBody>
      </p:sp>
    </p:spTree>
    <p:extLst>
      <p:ext uri="{BB962C8B-B14F-4D97-AF65-F5344CB8AC3E}">
        <p14:creationId xmlns:p14="http://schemas.microsoft.com/office/powerpoint/2010/main" val="13258978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72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sz="1400"/>
              <a:t>You can submit a question at any time during the presentation by following the instructions on this slide. </a:t>
            </a:r>
          </a:p>
          <a:p>
            <a:pPr>
              <a:spcBef>
                <a:spcPct val="0"/>
              </a:spcBef>
            </a:pPr>
            <a:endParaRPr lang="en-US" altLang="en-US" sz="1400"/>
          </a:p>
          <a:p>
            <a:pPr>
              <a:spcBef>
                <a:spcPct val="0"/>
              </a:spcBef>
            </a:pPr>
            <a:r>
              <a:rPr lang="en-US" altLang="en-US" sz="1400"/>
              <a:t>The faculty will answer questions at the end of all the presentations. </a:t>
            </a:r>
          </a:p>
        </p:txBody>
      </p:sp>
      <p:sp>
        <p:nvSpPr>
          <p:cNvPr id="1372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93120" indent="-304031">
              <a:defRPr>
                <a:solidFill>
                  <a:schemeClr val="tx1"/>
                </a:solidFill>
                <a:latin typeface="Calibri" pitchFamily="34" charset="0"/>
              </a:defRPr>
            </a:lvl2pPr>
            <a:lvl3pPr marL="1221077" indent="-242893">
              <a:defRPr>
                <a:solidFill>
                  <a:schemeClr val="tx1"/>
                </a:solidFill>
                <a:latin typeface="Calibri" pitchFamily="34" charset="0"/>
              </a:defRPr>
            </a:lvl3pPr>
            <a:lvl4pPr marL="1710169" indent="-242893">
              <a:defRPr>
                <a:solidFill>
                  <a:schemeClr val="tx1"/>
                </a:solidFill>
                <a:latin typeface="Calibri" pitchFamily="34" charset="0"/>
              </a:defRPr>
            </a:lvl4pPr>
            <a:lvl5pPr marL="2199258" indent="-242893">
              <a:defRPr>
                <a:solidFill>
                  <a:schemeClr val="tx1"/>
                </a:solidFill>
                <a:latin typeface="Calibri" pitchFamily="34" charset="0"/>
              </a:defRPr>
            </a:lvl5pPr>
            <a:lvl6pPr marL="2675131" indent="-242893" fontAlgn="base">
              <a:spcBef>
                <a:spcPct val="0"/>
              </a:spcBef>
              <a:spcAft>
                <a:spcPct val="0"/>
              </a:spcAft>
              <a:defRPr>
                <a:solidFill>
                  <a:schemeClr val="tx1"/>
                </a:solidFill>
                <a:latin typeface="Calibri" pitchFamily="34" charset="0"/>
              </a:defRPr>
            </a:lvl6pPr>
            <a:lvl7pPr marL="3151003" indent="-242893" fontAlgn="base">
              <a:spcBef>
                <a:spcPct val="0"/>
              </a:spcBef>
              <a:spcAft>
                <a:spcPct val="0"/>
              </a:spcAft>
              <a:defRPr>
                <a:solidFill>
                  <a:schemeClr val="tx1"/>
                </a:solidFill>
                <a:latin typeface="Calibri" pitchFamily="34" charset="0"/>
              </a:defRPr>
            </a:lvl7pPr>
            <a:lvl8pPr marL="3626875" indent="-242893" fontAlgn="base">
              <a:spcBef>
                <a:spcPct val="0"/>
              </a:spcBef>
              <a:spcAft>
                <a:spcPct val="0"/>
              </a:spcAft>
              <a:defRPr>
                <a:solidFill>
                  <a:schemeClr val="tx1"/>
                </a:solidFill>
                <a:latin typeface="Calibri" pitchFamily="34" charset="0"/>
              </a:defRPr>
            </a:lvl8pPr>
            <a:lvl9pPr marL="4102748" indent="-242893" fontAlgn="base">
              <a:spcBef>
                <a:spcPct val="0"/>
              </a:spcBef>
              <a:spcAft>
                <a:spcPct val="0"/>
              </a:spcAft>
              <a:defRPr>
                <a:solidFill>
                  <a:schemeClr val="tx1"/>
                </a:solidFill>
                <a:latin typeface="Calibri" pitchFamily="34" charset="0"/>
              </a:defRPr>
            </a:lvl9pPr>
          </a:lstStyle>
          <a:p>
            <a:pPr marL="0" marR="0" lvl="0" indent="0" algn="r" defTabSz="951964" rtl="0" eaLnBrk="1" fontAlgn="base" latinLnBrk="0" hangingPunct="1">
              <a:lnSpc>
                <a:spcPct val="100000"/>
              </a:lnSpc>
              <a:spcBef>
                <a:spcPct val="0"/>
              </a:spcBef>
              <a:spcAft>
                <a:spcPct val="0"/>
              </a:spcAft>
              <a:buClrTx/>
              <a:buSzTx/>
              <a:buFontTx/>
              <a:buNone/>
              <a:tabLst/>
              <a:defRPr/>
            </a:pPr>
            <a:fld id="{C415E4E8-E76D-446B-9C18-288379B8CA0A}" type="slidenum">
              <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rPr>
              <a:pPr marL="0" marR="0" lvl="0" indent="0" algn="r" defTabSz="951964" rtl="0" eaLnBrk="1" fontAlgn="base" latinLnBrk="0" hangingPunct="1">
                <a:lnSpc>
                  <a:spcPct val="100000"/>
                </a:lnSpc>
                <a:spcBef>
                  <a:spcPct val="0"/>
                </a:spcBef>
                <a:spcAft>
                  <a:spcPct val="0"/>
                </a:spcAft>
                <a:buClrTx/>
                <a:buSzTx/>
                <a:buFontTx/>
                <a:buNone/>
                <a:tabLst/>
                <a:defRPr/>
              </a:pPr>
              <a:t>5</a:t>
            </a:fld>
            <a:endPar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endParaRPr>
          </a:p>
        </p:txBody>
      </p:sp>
    </p:spTree>
    <p:extLst>
      <p:ext uri="{BB962C8B-B14F-4D97-AF65-F5344CB8AC3E}">
        <p14:creationId xmlns:p14="http://schemas.microsoft.com/office/powerpoint/2010/main" val="4499865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Please take a moment to read our general disclaimer. </a:t>
            </a:r>
          </a:p>
        </p:txBody>
      </p:sp>
      <p:sp>
        <p:nvSpPr>
          <p:cNvPr id="4" name="Header Placeholder 3"/>
          <p:cNvSpPr>
            <a:spLocks noGrp="1"/>
          </p:cNvSpPr>
          <p:nvPr>
            <p:ph type="hdr" sz="quarter"/>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FB49D4D-568C-2641-B360-BD4A87EDB85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041858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a:p>
            <a:r>
              <a:rPr lang="en-US">
                <a:ea typeface="Calibri"/>
                <a:cs typeface="Calibri"/>
              </a:rPr>
              <a:t>Today we are joined by two other esteemed faculty, we have Rachel Kennedy, a PhD and trained Neuroimmunologist who began her industry career as a Medical Science Liaison and is currently the head of Scientific Communications at Moderna.  We are also joined by Rachel Sopko Bibb who has over a decade of industry experience on the agency side and has recently moved over to Alnylam where she is the Associate Director of Scientific Communications Operations. And I am Whitney Morris, the Practice Lead at Medical Affairs Recruiting LLC. With over eight years of experience in medical communications recruiting, I will be serving as your moderator and faculty member for today’s session.</a:t>
            </a:r>
          </a:p>
        </p:txBody>
      </p:sp>
      <p:sp>
        <p:nvSpPr>
          <p:cNvPr id="4" name="Slide Number Placeholder 3"/>
          <p:cNvSpPr>
            <a:spLocks noGrp="1"/>
          </p:cNvSpPr>
          <p:nvPr>
            <p:ph type="sldNum" sz="quarter" idx="5"/>
          </p:nvPr>
        </p:nvSpPr>
        <p:spPr/>
        <p:txBody>
          <a:bodyPr/>
          <a:lstStyle/>
          <a:p>
            <a:fld id="{2FB49D4D-568C-2641-B360-BD4A87EDB853}" type="slidenum">
              <a:rPr lang="en-US" smtClean="0"/>
              <a:t>9</a:t>
            </a:fld>
            <a:endParaRPr lang="en-US"/>
          </a:p>
        </p:txBody>
      </p:sp>
    </p:spTree>
    <p:extLst>
      <p:ext uri="{BB962C8B-B14F-4D97-AF65-F5344CB8AC3E}">
        <p14:creationId xmlns:p14="http://schemas.microsoft.com/office/powerpoint/2010/main" val="4045457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spcBef>
                <a:spcPts val="0"/>
              </a:spcBef>
              <a:spcAft>
                <a:spcPts val="0"/>
              </a:spcAft>
              <a:buSzPts val="1000"/>
              <a:buFont typeface="Courier New" panose="02070309020205020404" pitchFamily="49" charset="0"/>
              <a:buChar char="o"/>
              <a:tabLst>
                <a:tab pos="457200" algn="l"/>
              </a:tabLst>
            </a:pPr>
            <a:r>
              <a:rPr lang="en-US" sz="1100">
                <a:effectLst/>
                <a:latin typeface="Calibri"/>
                <a:ea typeface="Times New Roman" panose="02020603050405020304" pitchFamily="18" charset="0"/>
                <a:cs typeface="Calibri"/>
              </a:rPr>
              <a:t>Overview of Talent Acquisition and Retention Issues (CLIENT DRIVEN MARKET)</a:t>
            </a:r>
            <a:endParaRPr lang="en-US" sz="1100">
              <a:effectLst/>
              <a:latin typeface="Calibri"/>
              <a:ea typeface="Aptos" panose="020B0004020202020204" pitchFamily="34" charset="0"/>
              <a:cs typeface="Calibri"/>
            </a:endParaRPr>
          </a:p>
          <a:p>
            <a:pPr marL="742950" lvl="1" indent="-285750">
              <a:buSzPts val="1000"/>
              <a:buFont typeface="Courier New" panose="02070309020205020404" pitchFamily="49" charset="0"/>
              <a:buChar char="o"/>
              <a:tabLst>
                <a:tab pos="914400" algn="l"/>
              </a:tabLst>
            </a:pPr>
            <a:r>
              <a:rPr lang="en-US" sz="1100">
                <a:effectLst/>
                <a:latin typeface="Calibri"/>
                <a:ea typeface="Times New Roman" panose="02020603050405020304" pitchFamily="18" charset="0"/>
                <a:cs typeface="Calibri"/>
              </a:rPr>
              <a:t>According to pharmaceutical technology, the global pharmaceutical industry </a:t>
            </a:r>
            <a:r>
              <a:rPr lang="en-US" sz="1100">
                <a:latin typeface="Calibri"/>
                <a:ea typeface="Times New Roman" panose="02020603050405020304" pitchFamily="18" charset="0"/>
                <a:cs typeface="Calibri"/>
              </a:rPr>
              <a:t>as a whole is down 8% in</a:t>
            </a:r>
            <a:r>
              <a:rPr lang="en-US" sz="1100">
                <a:effectLst/>
                <a:latin typeface="Calibri"/>
                <a:ea typeface="Times New Roman" panose="02020603050405020304" pitchFamily="18" charset="0"/>
                <a:cs typeface="Calibri"/>
              </a:rPr>
              <a:t> new job postings related to future of work</a:t>
            </a:r>
            <a:r>
              <a:rPr lang="en-US" sz="1100">
                <a:latin typeface="Calibri"/>
                <a:ea typeface="Times New Roman" panose="02020603050405020304" pitchFamily="18" charset="0"/>
                <a:cs typeface="Calibri"/>
              </a:rPr>
              <a:t> compared to 2023</a:t>
            </a:r>
            <a:r>
              <a:rPr lang="en-US" sz="1100">
                <a:effectLst/>
                <a:latin typeface="Calibri"/>
                <a:ea typeface="Times New Roman" panose="02020603050405020304" pitchFamily="18" charset="0"/>
                <a:cs typeface="Calibri"/>
              </a:rPr>
              <a:t>.</a:t>
            </a:r>
            <a:endParaRPr lang="en-US" sz="1100">
              <a:effectLst/>
              <a:latin typeface="Calibri"/>
              <a:ea typeface="Aptos" panose="020B0004020202020204" pitchFamily="34" charset="0"/>
              <a:cs typeface="Calibri"/>
            </a:endParaRPr>
          </a:p>
          <a:p>
            <a:pPr marL="742950" marR="0" lvl="1" indent="-285750">
              <a:spcBef>
                <a:spcPts val="0"/>
              </a:spcBef>
              <a:spcAft>
                <a:spcPts val="0"/>
              </a:spcAft>
              <a:buSzPts val="1000"/>
              <a:buFont typeface="Courier New" panose="02070309020205020404" pitchFamily="49" charset="0"/>
              <a:buChar char="o"/>
              <a:tabLst>
                <a:tab pos="914400" algn="l"/>
              </a:tabLst>
            </a:pPr>
            <a:r>
              <a:rPr lang="en-US" sz="1100">
                <a:effectLst/>
                <a:latin typeface="Calibri"/>
                <a:ea typeface="Times New Roman" panose="02020603050405020304" pitchFamily="18" charset="0"/>
                <a:cs typeface="Calibri"/>
              </a:rPr>
              <a:t>It is the time of have and have nots.  In Q1 2024, according to drugdiscoverytrends.com small </a:t>
            </a:r>
            <a:r>
              <a:rPr lang="en-US" sz="1100" err="1">
                <a:effectLst/>
                <a:latin typeface="Calibri"/>
                <a:ea typeface="Times New Roman" panose="02020603050405020304" pitchFamily="18" charset="0"/>
                <a:cs typeface="Calibri"/>
              </a:rPr>
              <a:t>biotechs</a:t>
            </a:r>
            <a:r>
              <a:rPr lang="en-US" sz="1100">
                <a:effectLst/>
                <a:latin typeface="Calibri"/>
                <a:ea typeface="Times New Roman" panose="02020603050405020304" pitchFamily="18" charset="0"/>
                <a:cs typeface="Calibri"/>
              </a:rPr>
              <a:t> secured nearly $3B in funding alone.  On the other hand pharma as a whole is experiencing major layoffs with 18 companies laying off in June/July 2024 alone.</a:t>
            </a:r>
            <a:endParaRPr lang="en-US" sz="1100">
              <a:effectLst/>
              <a:latin typeface="Calibri"/>
              <a:ea typeface="Aptos" panose="020B0004020202020204" pitchFamily="34" charset="0"/>
              <a:cs typeface="Calibri"/>
            </a:endParaRPr>
          </a:p>
          <a:p>
            <a:pPr marL="742950" marR="0" lvl="1" indent="-285750">
              <a:spcBef>
                <a:spcPts val="0"/>
              </a:spcBef>
              <a:spcAft>
                <a:spcPts val="0"/>
              </a:spcAft>
              <a:buSzPts val="1000"/>
              <a:buFont typeface="Courier New" panose="02070309020205020404" pitchFamily="49" charset="0"/>
              <a:buChar char="o"/>
              <a:tabLst>
                <a:tab pos="914400" algn="l"/>
              </a:tabLst>
            </a:pPr>
            <a:r>
              <a:rPr lang="en-US" sz="1100">
                <a:effectLst/>
                <a:latin typeface="Calibri"/>
                <a:ea typeface="Times New Roman" panose="02020603050405020304" pitchFamily="18" charset="0"/>
                <a:cs typeface="Calibri"/>
              </a:rPr>
              <a:t>Biopharma layoffs have generally increased from Jan 2024 to today.</a:t>
            </a:r>
            <a:endParaRPr lang="en-US" sz="1100">
              <a:effectLst/>
              <a:latin typeface="Calibri"/>
              <a:ea typeface="Aptos" panose="020B0004020202020204" pitchFamily="34" charset="0"/>
              <a:cs typeface="Calibri"/>
            </a:endParaRPr>
          </a:p>
          <a:p>
            <a:pPr>
              <a:spcBef>
                <a:spcPts val="0"/>
              </a:spcBef>
              <a:spcAft>
                <a:spcPts val="0"/>
              </a:spcAft>
            </a:pPr>
            <a:endParaRPr lang="en-US">
              <a:effectLst/>
            </a:endParaRPr>
          </a:p>
          <a:p>
            <a:pPr marL="742950" marR="0" lvl="1" indent="-285750">
              <a:spcBef>
                <a:spcPts val="0"/>
              </a:spcBef>
              <a:spcAft>
                <a:spcPts val="0"/>
              </a:spcAft>
              <a:buSzPts val="1000"/>
              <a:buFont typeface="Courier New" panose="02070309020205020404" pitchFamily="49" charset="0"/>
              <a:buChar char="o"/>
              <a:tabLst>
                <a:tab pos="914400" algn="l"/>
              </a:tabLst>
            </a:pPr>
            <a:r>
              <a:rPr lang="en-US" sz="1100">
                <a:effectLst/>
                <a:latin typeface="Calibri"/>
                <a:ea typeface="Times New Roman" panose="02020603050405020304" pitchFamily="18" charset="0"/>
                <a:cs typeface="Calibri"/>
              </a:rPr>
              <a:t>Why the layoffs? According to Drug Discovery and Development.com </a:t>
            </a:r>
            <a:endParaRPr lang="en-US" sz="1100">
              <a:effectLst/>
              <a:latin typeface="Calibri"/>
              <a:ea typeface="Aptos" panose="020B0004020202020204" pitchFamily="34" charset="0"/>
              <a:cs typeface="Calibri"/>
            </a:endParaRPr>
          </a:p>
          <a:p>
            <a:pPr marL="1143000" marR="0" lvl="2" indent="-228600">
              <a:spcBef>
                <a:spcPts val="0"/>
              </a:spcBef>
              <a:spcAft>
                <a:spcPts val="0"/>
              </a:spcAft>
              <a:buSzPts val="1000"/>
              <a:buFont typeface="Courier New" panose="02070309020205020404" pitchFamily="49" charset="0"/>
              <a:buChar char="o"/>
              <a:tabLst>
                <a:tab pos="1371600" algn="l"/>
              </a:tabLst>
            </a:pPr>
            <a:r>
              <a:rPr lang="en-US" sz="1100" b="1">
                <a:effectLst/>
                <a:latin typeface="Aptos"/>
                <a:ea typeface="Times New Roman" panose="02020603050405020304" pitchFamily="18" charset="0"/>
                <a:cs typeface="Times New Roman" panose="02020603050405020304" pitchFamily="18" charset="0"/>
              </a:rPr>
              <a:t>Large and Midsized Companies</a:t>
            </a:r>
            <a:r>
              <a:rPr lang="en-US" sz="1100">
                <a:effectLst/>
                <a:latin typeface="Aptos"/>
                <a:ea typeface="Times New Roman" panose="02020603050405020304" pitchFamily="18" charset="0"/>
                <a:cs typeface="Times New Roman" panose="02020603050405020304" pitchFamily="18" charset="0"/>
              </a:rPr>
              <a:t>:</a:t>
            </a:r>
            <a:br>
              <a:rPr lang="en-US" sz="1100">
                <a:effectLst/>
                <a:latin typeface="Aptos" panose="020B0004020202020204" pitchFamily="34" charset="0"/>
                <a:ea typeface="Times New Roman" panose="02020603050405020304" pitchFamily="18" charset="0"/>
                <a:cs typeface="Times New Roman" panose="02020603050405020304" pitchFamily="18" charset="0"/>
              </a:rPr>
            </a:br>
            <a:r>
              <a:rPr lang="en-US" sz="1100">
                <a:effectLst/>
                <a:latin typeface="Aptos"/>
                <a:ea typeface="Times New Roman" panose="02020603050405020304" pitchFamily="18" charset="0"/>
                <a:cs typeface="Times New Roman" panose="02020603050405020304" pitchFamily="18" charset="0"/>
              </a:rPr>
              <a:t>Operational Reorganization: Many large companies have resorted to layoffs as part of broader efforts to streamline operations and improve efficiency. Similarly, Big </a:t>
            </a:r>
            <a:r>
              <a:rPr lang="en-US" sz="1100" err="1">
                <a:effectLst/>
                <a:latin typeface="Aptos"/>
                <a:ea typeface="Times New Roman" panose="02020603050405020304" pitchFamily="18" charset="0"/>
                <a:cs typeface="Times New Roman" panose="02020603050405020304" pitchFamily="18" charset="0"/>
              </a:rPr>
              <a:t>Pharmas</a:t>
            </a:r>
            <a:r>
              <a:rPr lang="en-US" sz="1100">
                <a:effectLst/>
                <a:latin typeface="Aptos"/>
                <a:ea typeface="Times New Roman" panose="02020603050405020304" pitchFamily="18" charset="0"/>
                <a:cs typeface="Times New Roman" panose="02020603050405020304" pitchFamily="18" charset="0"/>
              </a:rPr>
              <a:t> have undergone layoffs to realign their strategic priorities. Several large companies have experienced layoffs in the wake of disappointing clinical trial results or the discontinuation of drug development programs. Midsize companies have cut workers largely as a result of similar reasons.</a:t>
            </a:r>
            <a:endParaRPr lang="en-US" sz="1100">
              <a:effectLst/>
              <a:latin typeface="Aptos"/>
              <a:ea typeface="Aptos" panose="020B0004020202020204" pitchFamily="34" charset="0"/>
              <a:cs typeface="Times New Roman" panose="02020603050405020304" pitchFamily="18" charset="0"/>
            </a:endParaRPr>
          </a:p>
          <a:p>
            <a:pPr marL="1143000" marR="0" lvl="2" indent="-228600">
              <a:spcBef>
                <a:spcPts val="0"/>
              </a:spcBef>
              <a:spcAft>
                <a:spcPts val="0"/>
              </a:spcAft>
              <a:buSzPts val="1000"/>
              <a:buFont typeface="Courier New" panose="02070309020205020404" pitchFamily="49" charset="0"/>
              <a:buChar char="o"/>
              <a:tabLst>
                <a:tab pos="1371600" algn="l"/>
              </a:tabLst>
            </a:pPr>
            <a:r>
              <a:rPr lang="en-US" sz="1100" b="1">
                <a:effectLst/>
                <a:latin typeface="Calibri"/>
                <a:ea typeface="Times New Roman" panose="02020603050405020304" pitchFamily="18" charset="0"/>
                <a:cs typeface="Calibri"/>
              </a:rPr>
              <a:t>Small Companies</a:t>
            </a:r>
            <a:r>
              <a:rPr lang="en-US" sz="1100">
                <a:effectLst/>
                <a:latin typeface="Calibri"/>
                <a:ea typeface="Times New Roman" panose="02020603050405020304" pitchFamily="18" charset="0"/>
                <a:cs typeface="Calibri"/>
              </a:rPr>
              <a:t>:</a:t>
            </a:r>
            <a:br>
              <a:rPr lang="en-US" sz="1100">
                <a:effectLst/>
                <a:latin typeface="Calibri" panose="020F0502020204030204" pitchFamily="34" charset="0"/>
                <a:ea typeface="Times New Roman" panose="02020603050405020304" pitchFamily="18" charset="0"/>
                <a:cs typeface="Calibri"/>
              </a:rPr>
            </a:br>
            <a:r>
              <a:rPr lang="en-US" sz="1100">
                <a:effectLst/>
                <a:latin typeface="Calibri"/>
                <a:ea typeface="Times New Roman" panose="02020603050405020304" pitchFamily="18" charset="0"/>
                <a:cs typeface="Calibri"/>
              </a:rPr>
              <a:t>Small companies have implemented layoffs to focus on their most promising drug candidates and prioritize resources toward key projects. Some small companies have experienced layoffs as a result of challenges in securing funding or attracting investments in the current market conditions.</a:t>
            </a:r>
            <a:endParaRPr lang="en-US" sz="1100">
              <a:effectLst/>
              <a:latin typeface="Calibri"/>
              <a:ea typeface="Aptos" panose="020B0004020202020204" pitchFamily="34" charset="0"/>
              <a:cs typeface="Calibri"/>
            </a:endParaRPr>
          </a:p>
          <a:p>
            <a:pPr marL="742950" marR="0" lvl="1" indent="-285750">
              <a:spcBef>
                <a:spcPts val="0"/>
              </a:spcBef>
              <a:spcAft>
                <a:spcPts val="0"/>
              </a:spcAft>
              <a:buSzPts val="1000"/>
              <a:buFont typeface="Courier New" panose="02070309020205020404" pitchFamily="49" charset="0"/>
              <a:buChar char="o"/>
              <a:tabLst>
                <a:tab pos="914400" algn="l"/>
              </a:tabLst>
            </a:pPr>
            <a:r>
              <a:rPr lang="en-US" sz="1100">
                <a:effectLst/>
                <a:latin typeface="Calibri"/>
                <a:ea typeface="Times New Roman" panose="02020603050405020304" pitchFamily="18" charset="0"/>
                <a:cs typeface="Calibri"/>
              </a:rPr>
              <a:t>So what does this mean?  Candidate heavy right now – competition is fierce!</a:t>
            </a:r>
            <a:endParaRPr lang="en-US" sz="1100">
              <a:effectLst/>
              <a:latin typeface="Calibri"/>
              <a:ea typeface="Aptos" panose="020B0004020202020204" pitchFamily="34" charset="0"/>
              <a:cs typeface="Calibri"/>
            </a:endParaRPr>
          </a:p>
          <a:p>
            <a:endParaRPr lang="en-US"/>
          </a:p>
        </p:txBody>
      </p:sp>
      <p:sp>
        <p:nvSpPr>
          <p:cNvPr id="4" name="Slide Number Placeholder 3"/>
          <p:cNvSpPr>
            <a:spLocks noGrp="1"/>
          </p:cNvSpPr>
          <p:nvPr>
            <p:ph type="sldNum" sz="quarter" idx="5"/>
          </p:nvPr>
        </p:nvSpPr>
        <p:spPr/>
        <p:txBody>
          <a:bodyPr/>
          <a:lstStyle/>
          <a:p>
            <a:fld id="{2FB49D4D-568C-2641-B360-BD4A87EDB853}" type="slidenum">
              <a:rPr lang="en-US" smtClean="0"/>
              <a:t>11</a:t>
            </a:fld>
            <a:endParaRPr lang="en-US"/>
          </a:p>
        </p:txBody>
      </p:sp>
    </p:spTree>
    <p:extLst>
      <p:ext uri="{BB962C8B-B14F-4D97-AF65-F5344CB8AC3E}">
        <p14:creationId xmlns:p14="http://schemas.microsoft.com/office/powerpoint/2010/main" val="10407414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0"/>
              </a:spcBef>
              <a:spcAft>
                <a:spcPts val="0"/>
              </a:spcAft>
            </a:pPr>
            <a:endParaRPr lang="en-US">
              <a:effectLst/>
            </a:endParaRPr>
          </a:p>
          <a:p>
            <a:pPr marL="742950" lvl="1" indent="-285750">
              <a:buSzPts val="1000"/>
              <a:buFont typeface="Courier New" panose="02070309020205020404" pitchFamily="49" charset="0"/>
              <a:buChar char="o"/>
              <a:tabLst>
                <a:tab pos="914400" algn="l"/>
              </a:tabLst>
            </a:pPr>
            <a:r>
              <a:rPr lang="en-US" sz="1100">
                <a:latin typeface="Calibri"/>
                <a:ea typeface="Times New Roman" panose="02020603050405020304" pitchFamily="18" charset="0"/>
                <a:cs typeface="Calibri"/>
              </a:rPr>
              <a:t>While it is competitive for employees to get a new job, they are by no means locked in.  If you take 30 seconds to scroll on LinkedIn on any given day you'll find at least a </a:t>
            </a:r>
            <a:r>
              <a:rPr lang="en-US" sz="1100" err="1">
                <a:latin typeface="Calibri"/>
                <a:ea typeface="Times New Roman" panose="02020603050405020304" pitchFamily="18" charset="0"/>
                <a:cs typeface="Calibri"/>
              </a:rPr>
              <a:t>handul</a:t>
            </a:r>
            <a:r>
              <a:rPr lang="en-US" sz="1100">
                <a:latin typeface="Calibri"/>
                <a:ea typeface="Times New Roman" panose="02020603050405020304" pitchFamily="18" charset="0"/>
                <a:cs typeface="Calibri"/>
              </a:rPr>
              <a:t> of new roles posted.</a:t>
            </a:r>
          </a:p>
          <a:p>
            <a:pPr marL="742950" lvl="1" indent="-285750">
              <a:buSzPts val="1000"/>
              <a:buFont typeface="Courier New" panose="02070309020205020404" pitchFamily="49" charset="0"/>
              <a:buChar char="o"/>
              <a:tabLst>
                <a:tab pos="914400" algn="l"/>
              </a:tabLst>
            </a:pPr>
            <a:r>
              <a:rPr lang="en-US" sz="1100">
                <a:latin typeface="Calibri"/>
                <a:ea typeface="Times New Roman" panose="02020603050405020304" pitchFamily="18" charset="0"/>
                <a:cs typeface="Calibri"/>
              </a:rPr>
              <a:t>Let's discuss why people are leaving...</a:t>
            </a:r>
          </a:p>
          <a:p>
            <a:pPr marL="742950" marR="0" lvl="1" indent="-285750">
              <a:spcBef>
                <a:spcPts val="0"/>
              </a:spcBef>
              <a:spcAft>
                <a:spcPts val="0"/>
              </a:spcAft>
              <a:buSzPts val="1000"/>
              <a:buFont typeface="Courier New" panose="02070309020205020404" pitchFamily="49" charset="0"/>
              <a:buChar char="o"/>
              <a:tabLst>
                <a:tab pos="914400" algn="l"/>
              </a:tabLst>
            </a:pPr>
            <a:r>
              <a:rPr lang="en-US" sz="1100">
                <a:effectLst/>
                <a:latin typeface="Calibri"/>
                <a:ea typeface="Times New Roman" panose="02020603050405020304" pitchFamily="18" charset="0"/>
                <a:cs typeface="Calibri"/>
              </a:rPr>
              <a:t>Pharma specifically set up to positively reinforce changing companies often. The biggest bump in pay is by changing companies, making retention a challenge for hiring managers.</a:t>
            </a:r>
            <a:endParaRPr lang="en-US" sz="1100">
              <a:effectLst/>
              <a:latin typeface="Calibri"/>
              <a:ea typeface="Aptos" panose="020B0004020202020204" pitchFamily="34" charset="0"/>
              <a:cs typeface="Calibri"/>
            </a:endParaRPr>
          </a:p>
          <a:p>
            <a:pPr marL="742950" lvl="1" indent="-285750">
              <a:buSzPts val="1000"/>
              <a:buFont typeface="Courier New" panose="02070309020205020404" pitchFamily="49" charset="0"/>
              <a:buChar char="o"/>
              <a:tabLst>
                <a:tab pos="914400" algn="l"/>
              </a:tabLst>
            </a:pPr>
            <a:r>
              <a:rPr lang="en-US" sz="1100">
                <a:latin typeface="Calibri"/>
                <a:ea typeface="Times New Roman" panose="02020603050405020304" pitchFamily="18" charset="0"/>
                <a:cs typeface="Calibri"/>
              </a:rPr>
              <a:t>However, it may surprise you that NO ONE leaves</a:t>
            </a:r>
            <a:r>
              <a:rPr lang="en-US" sz="1100">
                <a:effectLst/>
                <a:latin typeface="Calibri"/>
                <a:ea typeface="Times New Roman" panose="02020603050405020304" pitchFamily="18" charset="0"/>
                <a:cs typeface="Calibri"/>
              </a:rPr>
              <a:t> just for money, it is often a secondary but never a primary.  Primary reasons include: lack of pipeline, lack of growth, not being challenged, mature/boring products. Given the market, retention could be easier but any doubt in the future is fueled by the market and can catapult a candidate to move out of the company.  </a:t>
            </a:r>
            <a:endParaRPr lang="en-US" sz="1100">
              <a:effectLst/>
              <a:latin typeface="Calibri"/>
              <a:ea typeface="Aptos" panose="020B0004020202020204" pitchFamily="34" charset="0"/>
              <a:cs typeface="Calibri"/>
            </a:endParaRPr>
          </a:p>
          <a:p>
            <a:endParaRPr lang="en-US"/>
          </a:p>
          <a:p>
            <a:endParaRPr lang="en-US">
              <a:ea typeface="Calibri"/>
              <a:cs typeface="Calibri"/>
            </a:endParaRPr>
          </a:p>
        </p:txBody>
      </p:sp>
      <p:sp>
        <p:nvSpPr>
          <p:cNvPr id="4" name="Slide Number Placeholder 3"/>
          <p:cNvSpPr>
            <a:spLocks noGrp="1"/>
          </p:cNvSpPr>
          <p:nvPr>
            <p:ph type="sldNum" sz="quarter" idx="5"/>
          </p:nvPr>
        </p:nvSpPr>
        <p:spPr/>
        <p:txBody>
          <a:bodyPr/>
          <a:lstStyle/>
          <a:p>
            <a:fld id="{2FB49D4D-568C-2641-B360-BD4A87EDB853}" type="slidenum">
              <a:rPr lang="en-US" smtClean="0"/>
              <a:t>12</a:t>
            </a:fld>
            <a:endParaRPr lang="en-US"/>
          </a:p>
        </p:txBody>
      </p:sp>
    </p:spTree>
    <p:extLst>
      <p:ext uri="{BB962C8B-B14F-4D97-AF65-F5344CB8AC3E}">
        <p14:creationId xmlns:p14="http://schemas.microsoft.com/office/powerpoint/2010/main" val="31083928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1291" cy="5143500"/>
          </a:xfrm>
          <a:prstGeom prst="rect">
            <a:avLst/>
          </a:prstGeom>
        </p:spPr>
      </p:pic>
      <p:sp>
        <p:nvSpPr>
          <p:cNvPr id="2" name="Title 1"/>
          <p:cNvSpPr>
            <a:spLocks noGrp="1"/>
          </p:cNvSpPr>
          <p:nvPr>
            <p:ph type="ctrTitle"/>
          </p:nvPr>
        </p:nvSpPr>
        <p:spPr>
          <a:xfrm>
            <a:off x="4809392" y="516457"/>
            <a:ext cx="3877408" cy="1790700"/>
          </a:xfrm>
        </p:spPr>
        <p:txBody>
          <a:bodyPr anchor="b">
            <a:normAutofit/>
          </a:bodyPr>
          <a:lstStyle>
            <a:lvl1pPr algn="ctr">
              <a:defRPr sz="4000" b="1">
                <a:solidFill>
                  <a:srgbClr val="F28C11"/>
                </a:solidFill>
              </a:defRPr>
            </a:lvl1pPr>
          </a:lstStyle>
          <a:p>
            <a:r>
              <a:rPr lang="en-US"/>
              <a:t>Click to edit Master title style</a:t>
            </a:r>
          </a:p>
        </p:txBody>
      </p:sp>
      <p:sp>
        <p:nvSpPr>
          <p:cNvPr id="3" name="Subtitle 2"/>
          <p:cNvSpPr>
            <a:spLocks noGrp="1"/>
          </p:cNvSpPr>
          <p:nvPr>
            <p:ph type="subTitle" idx="1"/>
          </p:nvPr>
        </p:nvSpPr>
        <p:spPr>
          <a:xfrm>
            <a:off x="4809392" y="2400300"/>
            <a:ext cx="3877408" cy="748630"/>
          </a:xfrm>
        </p:spPr>
        <p:txBody>
          <a:bodyPr>
            <a:noAutofit/>
          </a:bodyPr>
          <a:lstStyle>
            <a:lvl1pPr marL="0" indent="0" algn="ctr">
              <a:buNone/>
              <a:defRPr sz="2400" b="1" i="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66353" y="3549802"/>
            <a:ext cx="1763486" cy="1371600"/>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Placeholder 2 Circles">
    <p:spTree>
      <p:nvGrpSpPr>
        <p:cNvPr id="1" name=""/>
        <p:cNvGrpSpPr/>
        <p:nvPr/>
      </p:nvGrpSpPr>
      <p:grpSpPr>
        <a:xfrm>
          <a:off x="0" y="0"/>
          <a:ext cx="0" cy="0"/>
          <a:chOff x="0" y="0"/>
          <a:chExt cx="0" cy="0"/>
        </a:xfrm>
      </p:grpSpPr>
      <p:sp>
        <p:nvSpPr>
          <p:cNvPr id="11" name="Picture Placeholder 13"/>
          <p:cNvSpPr>
            <a:spLocks noGrp="1" noChangeAspect="1"/>
          </p:cNvSpPr>
          <p:nvPr>
            <p:ph type="pic" sz="quarter" idx="20"/>
          </p:nvPr>
        </p:nvSpPr>
        <p:spPr>
          <a:xfrm>
            <a:off x="844850" y="1232897"/>
            <a:ext cx="1509153" cy="1508760"/>
          </a:xfrm>
          <a:prstGeom prst="ellipse">
            <a:avLst/>
          </a:prstGeom>
          <a:effectLst/>
        </p:spPr>
        <p:txBody>
          <a:bodyPr>
            <a:normAutofit/>
          </a:bodyPr>
          <a:lstStyle>
            <a:lvl1pPr marL="0" indent="0">
              <a:buNone/>
              <a:defRPr sz="1350">
                <a:ln>
                  <a:noFill/>
                </a:ln>
                <a:solidFill>
                  <a:schemeClr val="bg1">
                    <a:lumMod val="85000"/>
                  </a:schemeClr>
                </a:solidFill>
              </a:defRPr>
            </a:lvl1pPr>
          </a:lstStyle>
          <a:p>
            <a:endParaRPr lang="en-US"/>
          </a:p>
        </p:txBody>
      </p:sp>
      <p:sp>
        <p:nvSpPr>
          <p:cNvPr id="13" name="Picture Placeholder 13"/>
          <p:cNvSpPr>
            <a:spLocks noGrp="1" noChangeAspect="1"/>
          </p:cNvSpPr>
          <p:nvPr>
            <p:ph type="pic" sz="quarter" idx="21"/>
          </p:nvPr>
        </p:nvSpPr>
        <p:spPr>
          <a:xfrm>
            <a:off x="2864819" y="1232897"/>
            <a:ext cx="1509153" cy="1508760"/>
          </a:xfrm>
          <a:prstGeom prst="ellipse">
            <a:avLst/>
          </a:prstGeom>
          <a:effectLst/>
        </p:spPr>
        <p:txBody>
          <a:bodyPr>
            <a:normAutofit/>
          </a:bodyPr>
          <a:lstStyle>
            <a:lvl1pPr marL="0" indent="0">
              <a:buNone/>
              <a:defRPr sz="1350">
                <a:ln>
                  <a:noFill/>
                </a:ln>
                <a:solidFill>
                  <a:schemeClr val="bg1">
                    <a:lumMod val="85000"/>
                  </a:schemeClr>
                </a:solidFill>
              </a:defRPr>
            </a:lvl1pPr>
          </a:lstStyle>
          <a:p>
            <a:endParaRPr lang="en-US"/>
          </a:p>
        </p:txBody>
      </p:sp>
      <p:sp>
        <p:nvSpPr>
          <p:cNvPr id="14" name="Picture Placeholder 13"/>
          <p:cNvSpPr>
            <a:spLocks noGrp="1" noChangeAspect="1"/>
          </p:cNvSpPr>
          <p:nvPr>
            <p:ph type="pic" sz="quarter" idx="22"/>
          </p:nvPr>
        </p:nvSpPr>
        <p:spPr>
          <a:xfrm>
            <a:off x="4798612" y="1232897"/>
            <a:ext cx="1509153" cy="1508760"/>
          </a:xfrm>
          <a:prstGeom prst="ellipse">
            <a:avLst/>
          </a:prstGeom>
          <a:effectLst/>
        </p:spPr>
        <p:txBody>
          <a:bodyPr>
            <a:normAutofit/>
          </a:bodyPr>
          <a:lstStyle>
            <a:lvl1pPr marL="0" indent="0">
              <a:buNone/>
              <a:defRPr sz="1350">
                <a:ln>
                  <a:noFill/>
                </a:ln>
                <a:solidFill>
                  <a:schemeClr val="bg1">
                    <a:lumMod val="85000"/>
                  </a:schemeClr>
                </a:solidFill>
              </a:defRPr>
            </a:lvl1pPr>
          </a:lstStyle>
          <a:p>
            <a:endParaRPr lang="en-US"/>
          </a:p>
        </p:txBody>
      </p:sp>
      <p:sp>
        <p:nvSpPr>
          <p:cNvPr id="15" name="Picture Placeholder 13"/>
          <p:cNvSpPr>
            <a:spLocks noGrp="1" noChangeAspect="1"/>
          </p:cNvSpPr>
          <p:nvPr>
            <p:ph type="pic" sz="quarter" idx="23"/>
          </p:nvPr>
        </p:nvSpPr>
        <p:spPr>
          <a:xfrm>
            <a:off x="6819296" y="1232897"/>
            <a:ext cx="1509153" cy="1508760"/>
          </a:xfrm>
          <a:prstGeom prst="ellipse">
            <a:avLst/>
          </a:prstGeom>
          <a:effectLst/>
        </p:spPr>
        <p:txBody>
          <a:bodyPr>
            <a:normAutofit/>
          </a:bodyPr>
          <a:lstStyle>
            <a:lvl1pPr marL="0" indent="0">
              <a:buNone/>
              <a:defRPr sz="1350">
                <a:ln>
                  <a:noFill/>
                </a:ln>
                <a:solidFill>
                  <a:schemeClr val="bg1">
                    <a:lumMod val="85000"/>
                  </a:schemeClr>
                </a:solidFill>
              </a:defRPr>
            </a:lvl1pPr>
          </a:lstStyle>
          <a:p>
            <a:endParaRPr lang="en-US"/>
          </a:p>
        </p:txBody>
      </p:sp>
    </p:spTree>
    <p:extLst>
      <p:ext uri="{BB962C8B-B14F-4D97-AF65-F5344CB8AC3E}">
        <p14:creationId xmlns:p14="http://schemas.microsoft.com/office/powerpoint/2010/main" val="38397453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ormAutofit/>
          </a:bodyPr>
          <a:lstStyle>
            <a:lvl1pPr>
              <a:defRPr sz="2400"/>
            </a:lvl1pPr>
            <a:lvl2pPr marL="584200" indent="-228600">
              <a:tabLst/>
              <a:defRPr sz="2200"/>
            </a:lvl2pPr>
            <a:lvl3pPr marL="927100" indent="-228600">
              <a:tabLst/>
              <a:defRPr sz="2000"/>
            </a:lvl3pPr>
            <a:lvl4pPr marL="1155700" indent="-157163">
              <a:tabLst/>
              <a:defRPr sz="1800"/>
            </a:lvl4pPr>
            <a:lvl5pPr marL="1497013" indent="-200025">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0"/>
          </p:nvPr>
        </p:nvSpPr>
        <p:spPr/>
        <p:txBody>
          <a:bodyPr/>
          <a:lstStyle/>
          <a:p>
            <a:fld id="{42AD0A0E-4515-A647-B2E3-7F1B29FB990E}"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title"/>
          </p:nvPr>
        </p:nvSpPr>
        <p:spPr>
          <a:xfrm>
            <a:off x="3000374" y="557214"/>
            <a:ext cx="5510213" cy="2308622"/>
          </a:xfrm>
        </p:spPr>
        <p:txBody>
          <a:bodyPr anchor="b">
            <a:normAutofit/>
          </a:bodyPr>
          <a:lstStyle>
            <a:lvl1pPr>
              <a:defRPr sz="3400">
                <a:solidFill>
                  <a:srgbClr val="F28C11"/>
                </a:solidFill>
              </a:defRPr>
            </a:lvl1pPr>
          </a:lstStyle>
          <a:p>
            <a:r>
              <a:rPr lang="en-US"/>
              <a:t>Click to edit Master title style</a:t>
            </a:r>
          </a:p>
        </p:txBody>
      </p:sp>
      <p:sp>
        <p:nvSpPr>
          <p:cNvPr id="3" name="Text Placeholder 2"/>
          <p:cNvSpPr>
            <a:spLocks noGrp="1"/>
          </p:cNvSpPr>
          <p:nvPr>
            <p:ph type="body" idx="1"/>
          </p:nvPr>
        </p:nvSpPr>
        <p:spPr>
          <a:xfrm>
            <a:off x="3000374" y="3157538"/>
            <a:ext cx="5510214" cy="1409700"/>
          </a:xfrm>
        </p:spPr>
        <p:txBody>
          <a:bodyPr>
            <a:normAutofit/>
          </a:bodyPr>
          <a:lstStyle>
            <a:lvl1pPr marL="0" indent="0">
              <a:buNone/>
              <a:defRPr sz="2400" b="1" i="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0611" y="4380219"/>
            <a:ext cx="822276" cy="639548"/>
          </a:xfrm>
          <a:prstGeom prst="rect">
            <a:avLst/>
          </a:prstGeom>
        </p:spPr>
      </p:pic>
      <p:sp>
        <p:nvSpPr>
          <p:cNvPr id="6" name="Slide Number Placeholder 6">
            <a:extLst>
              <a:ext uri="{FF2B5EF4-FFF2-40B4-BE49-F238E27FC236}">
                <a16:creationId xmlns:a16="http://schemas.microsoft.com/office/drawing/2014/main" id="{C812D4E2-C8AC-4B2C-95C7-ADACC9FB802A}"/>
              </a:ext>
            </a:extLst>
          </p:cNvPr>
          <p:cNvSpPr>
            <a:spLocks noGrp="1"/>
          </p:cNvSpPr>
          <p:nvPr>
            <p:ph type="sldNum" sz="quarter" idx="10"/>
          </p:nvPr>
        </p:nvSpPr>
        <p:spPr>
          <a:xfrm>
            <a:off x="6985487" y="59945"/>
            <a:ext cx="2057400" cy="273844"/>
          </a:xfrm>
        </p:spPr>
        <p:txBody>
          <a:bodyPr/>
          <a:lstStyle/>
          <a:p>
            <a:fld id="{42AD0A0E-4515-A647-B2E3-7F1B29FB990E}"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499"/>
          </a:xfrm>
          <a:prstGeom prst="rect">
            <a:avLst/>
          </a:prstGeom>
        </p:spPr>
      </p:pic>
      <p:sp>
        <p:nvSpPr>
          <p:cNvPr id="2" name="Title 1"/>
          <p:cNvSpPr>
            <a:spLocks noGrp="1"/>
          </p:cNvSpPr>
          <p:nvPr>
            <p:ph type="title"/>
          </p:nvPr>
        </p:nvSpPr>
        <p:spPr>
          <a:xfrm>
            <a:off x="3000374" y="557214"/>
            <a:ext cx="5510213" cy="2308622"/>
          </a:xfrm>
        </p:spPr>
        <p:txBody>
          <a:bodyPr anchor="b">
            <a:normAutofit/>
          </a:bodyPr>
          <a:lstStyle>
            <a:lvl1pPr>
              <a:defRPr sz="3400">
                <a:solidFill>
                  <a:srgbClr val="F28C11"/>
                </a:solidFill>
              </a:defRPr>
            </a:lvl1pPr>
          </a:lstStyle>
          <a:p>
            <a:r>
              <a:rPr lang="en-US"/>
              <a:t>Click to edit Master title style</a:t>
            </a:r>
          </a:p>
        </p:txBody>
      </p:sp>
      <p:sp>
        <p:nvSpPr>
          <p:cNvPr id="3" name="Text Placeholder 2"/>
          <p:cNvSpPr>
            <a:spLocks noGrp="1"/>
          </p:cNvSpPr>
          <p:nvPr>
            <p:ph type="body" idx="1"/>
          </p:nvPr>
        </p:nvSpPr>
        <p:spPr>
          <a:xfrm>
            <a:off x="3000374" y="3157538"/>
            <a:ext cx="5510214" cy="1409700"/>
          </a:xfrm>
        </p:spPr>
        <p:txBody>
          <a:bodyPr>
            <a:normAutofit/>
          </a:bodyPr>
          <a:lstStyle>
            <a:lvl1pPr marL="0" indent="0">
              <a:buNone/>
              <a:defRPr sz="2400" b="1" i="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0611" y="4380219"/>
            <a:ext cx="822276" cy="639548"/>
          </a:xfrm>
          <a:prstGeom prst="rect">
            <a:avLst/>
          </a:prstGeom>
        </p:spPr>
      </p:pic>
      <p:sp>
        <p:nvSpPr>
          <p:cNvPr id="6" name="Slide Number Placeholder 6">
            <a:extLst>
              <a:ext uri="{FF2B5EF4-FFF2-40B4-BE49-F238E27FC236}">
                <a16:creationId xmlns:a16="http://schemas.microsoft.com/office/drawing/2014/main" id="{EA2D1A8F-1B35-4CB2-94FF-DCE71E14CA54}"/>
              </a:ext>
            </a:extLst>
          </p:cNvPr>
          <p:cNvSpPr>
            <a:spLocks noGrp="1"/>
          </p:cNvSpPr>
          <p:nvPr>
            <p:ph type="sldNum" sz="quarter" idx="10"/>
          </p:nvPr>
        </p:nvSpPr>
        <p:spPr>
          <a:xfrm>
            <a:off x="6985487" y="59945"/>
            <a:ext cx="2057400" cy="273844"/>
          </a:xfrm>
        </p:spPr>
        <p:txBody>
          <a:bodyPr/>
          <a:lstStyle/>
          <a:p>
            <a:fld id="{42AD0A0E-4515-A647-B2E3-7F1B29FB990E}"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9143999" cy="5143499"/>
          </a:xfrm>
          <a:prstGeom prst="rect">
            <a:avLst/>
          </a:prstGeom>
        </p:spPr>
      </p:pic>
      <p:sp>
        <p:nvSpPr>
          <p:cNvPr id="2" name="Title 1"/>
          <p:cNvSpPr>
            <a:spLocks noGrp="1"/>
          </p:cNvSpPr>
          <p:nvPr>
            <p:ph type="title"/>
          </p:nvPr>
        </p:nvSpPr>
        <p:spPr>
          <a:xfrm>
            <a:off x="3000374" y="557214"/>
            <a:ext cx="5510213" cy="2308622"/>
          </a:xfrm>
        </p:spPr>
        <p:txBody>
          <a:bodyPr anchor="b">
            <a:normAutofit/>
          </a:bodyPr>
          <a:lstStyle>
            <a:lvl1pPr>
              <a:defRPr sz="3400">
                <a:solidFill>
                  <a:srgbClr val="F28C11"/>
                </a:solidFill>
              </a:defRPr>
            </a:lvl1pPr>
          </a:lstStyle>
          <a:p>
            <a:r>
              <a:rPr lang="en-US"/>
              <a:t>Click to edit Master title style</a:t>
            </a:r>
          </a:p>
        </p:txBody>
      </p:sp>
      <p:sp>
        <p:nvSpPr>
          <p:cNvPr id="3" name="Text Placeholder 2"/>
          <p:cNvSpPr>
            <a:spLocks noGrp="1"/>
          </p:cNvSpPr>
          <p:nvPr>
            <p:ph type="body" idx="1"/>
          </p:nvPr>
        </p:nvSpPr>
        <p:spPr>
          <a:xfrm>
            <a:off x="3000374" y="3157538"/>
            <a:ext cx="5510214" cy="1409700"/>
          </a:xfrm>
        </p:spPr>
        <p:txBody>
          <a:bodyPr>
            <a:normAutofit/>
          </a:bodyPr>
          <a:lstStyle>
            <a:lvl1pPr marL="0" indent="0">
              <a:buNone/>
              <a:defRPr sz="2400" b="1" i="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0611" y="4380219"/>
            <a:ext cx="822276" cy="639548"/>
          </a:xfrm>
          <a:prstGeom prst="rect">
            <a:avLst/>
          </a:prstGeom>
        </p:spPr>
      </p:pic>
      <p:sp>
        <p:nvSpPr>
          <p:cNvPr id="6" name="Slide Number Placeholder 6">
            <a:extLst>
              <a:ext uri="{FF2B5EF4-FFF2-40B4-BE49-F238E27FC236}">
                <a16:creationId xmlns:a16="http://schemas.microsoft.com/office/drawing/2014/main" id="{435E2D7E-D7C0-461D-859B-B0E61D3E15E7}"/>
              </a:ext>
            </a:extLst>
          </p:cNvPr>
          <p:cNvSpPr>
            <a:spLocks noGrp="1"/>
          </p:cNvSpPr>
          <p:nvPr>
            <p:ph type="sldNum" sz="quarter" idx="10"/>
          </p:nvPr>
        </p:nvSpPr>
        <p:spPr>
          <a:xfrm>
            <a:off x="6985487" y="59945"/>
            <a:ext cx="2057400" cy="273844"/>
          </a:xfrm>
        </p:spPr>
        <p:txBody>
          <a:bodyPr/>
          <a:lstStyle/>
          <a:p>
            <a:fld id="{42AD0A0E-4515-A647-B2E3-7F1B29FB990E}"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7250" y="1369219"/>
            <a:ext cx="3462161"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857750" y="1369219"/>
            <a:ext cx="3462161"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p:cNvSpPr>
            <a:spLocks noGrp="1"/>
          </p:cNvSpPr>
          <p:nvPr>
            <p:ph type="sldNum" sz="quarter" idx="10"/>
          </p:nvPr>
        </p:nvSpPr>
        <p:spPr/>
        <p:txBody>
          <a:bodyPr/>
          <a:lstStyle/>
          <a:p>
            <a:fld id="{42AD0A0E-4515-A647-B2E3-7F1B29FB990E}"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0"/>
          </p:nvPr>
        </p:nvSpPr>
        <p:spPr/>
        <p:txBody>
          <a:bodyPr/>
          <a:lstStyle/>
          <a:p>
            <a:fld id="{42AD0A0E-4515-A647-B2E3-7F1B29FB990E}"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udience Poll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A3F4AB-3BA0-4239-9286-91194A8EBAA0}"/>
              </a:ext>
            </a:extLst>
          </p:cNvPr>
          <p:cNvSpPr>
            <a:spLocks noGrp="1"/>
          </p:cNvSpPr>
          <p:nvPr>
            <p:ph type="title" hasCustomPrompt="1"/>
          </p:nvPr>
        </p:nvSpPr>
        <p:spPr/>
        <p:txBody>
          <a:bodyPr/>
          <a:lstStyle>
            <a:lvl1pPr>
              <a:defRPr/>
            </a:lvl1pPr>
          </a:lstStyle>
          <a:p>
            <a:r>
              <a:rPr lang="en-US"/>
              <a:t>Audience Poll Slide</a:t>
            </a:r>
          </a:p>
        </p:txBody>
      </p:sp>
      <p:sp>
        <p:nvSpPr>
          <p:cNvPr id="3" name="Slide Number Placeholder 2">
            <a:extLst>
              <a:ext uri="{FF2B5EF4-FFF2-40B4-BE49-F238E27FC236}">
                <a16:creationId xmlns:a16="http://schemas.microsoft.com/office/drawing/2014/main" id="{88DA7B91-99E1-432F-9B4D-1C3803F5B7DE}"/>
              </a:ext>
            </a:extLst>
          </p:cNvPr>
          <p:cNvSpPr>
            <a:spLocks noGrp="1"/>
          </p:cNvSpPr>
          <p:nvPr>
            <p:ph type="sldNum" sz="quarter" idx="10"/>
          </p:nvPr>
        </p:nvSpPr>
        <p:spPr/>
        <p:txBody>
          <a:bodyPr/>
          <a:lstStyle/>
          <a:p>
            <a:fld id="{42AD0A0E-4515-A647-B2E3-7F1B29FB990E}" type="slidenum">
              <a:rPr lang="en-US" smtClean="0"/>
              <a:pPr/>
              <a:t>‹#›</a:t>
            </a:fld>
            <a:endParaRPr lang="en-US"/>
          </a:p>
        </p:txBody>
      </p:sp>
      <p:pic>
        <p:nvPicPr>
          <p:cNvPr id="4" name="Picture 3">
            <a:extLst>
              <a:ext uri="{FF2B5EF4-FFF2-40B4-BE49-F238E27FC236}">
                <a16:creationId xmlns:a16="http://schemas.microsoft.com/office/drawing/2014/main" id="{354A3FF4-8D50-4114-A5A4-C538BCC81F7B}"/>
              </a:ext>
            </a:extLst>
          </p:cNvPr>
          <p:cNvPicPr>
            <a:picLocks noChangeAspect="1"/>
          </p:cNvPicPr>
          <p:nvPr userDrawn="1"/>
        </p:nvPicPr>
        <p:blipFill>
          <a:blip r:embed="rId2"/>
          <a:stretch>
            <a:fillRect/>
          </a:stretch>
        </p:blipFill>
        <p:spPr>
          <a:xfrm>
            <a:off x="7427160" y="-90527"/>
            <a:ext cx="1536325" cy="1536325"/>
          </a:xfrm>
          <a:prstGeom prst="rect">
            <a:avLst/>
          </a:prstGeom>
        </p:spPr>
      </p:pic>
      <p:sp>
        <p:nvSpPr>
          <p:cNvPr id="5" name="Content Placeholder 2">
            <a:extLst>
              <a:ext uri="{FF2B5EF4-FFF2-40B4-BE49-F238E27FC236}">
                <a16:creationId xmlns:a16="http://schemas.microsoft.com/office/drawing/2014/main" id="{C73AEBA3-CC04-4431-B370-F5063F70C419}"/>
              </a:ext>
            </a:extLst>
          </p:cNvPr>
          <p:cNvSpPr>
            <a:spLocks noGrp="1"/>
          </p:cNvSpPr>
          <p:nvPr>
            <p:ph idx="1"/>
          </p:nvPr>
        </p:nvSpPr>
        <p:spPr>
          <a:xfrm>
            <a:off x="857250" y="1215384"/>
            <a:ext cx="7462661" cy="3675929"/>
          </a:xfrm>
        </p:spPr>
        <p:txBody>
          <a:bodyPr>
            <a:normAutofit/>
          </a:bodyPr>
          <a:lstStyle>
            <a:lvl1pPr>
              <a:defRPr sz="2400"/>
            </a:lvl1pPr>
            <a:lvl2pPr marL="584200" indent="-228600">
              <a:tabLst/>
              <a:defRPr sz="2200"/>
            </a:lvl2pPr>
            <a:lvl3pPr marL="927100" indent="-228600">
              <a:tabLst/>
              <a:defRPr sz="2000"/>
            </a:lvl3pPr>
            <a:lvl4pPr marL="1155700" indent="-157163">
              <a:tabLst/>
              <a:defRPr sz="1800"/>
            </a:lvl4pPr>
            <a:lvl5pPr marL="1497013" indent="-200025">
              <a:tabLst/>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20184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A69053C-6312-4C62-B942-BBDCF5A8DB9E}"/>
              </a:ext>
            </a:extLst>
          </p:cNvPr>
          <p:cNvSpPr>
            <a:spLocks noGrp="1"/>
          </p:cNvSpPr>
          <p:nvPr>
            <p:ph type="body" sz="quarter" idx="11"/>
          </p:nvPr>
        </p:nvSpPr>
        <p:spPr>
          <a:xfrm>
            <a:off x="857251" y="1215385"/>
            <a:ext cx="7462661" cy="3675929"/>
          </a:xfrm>
        </p:spPr>
        <p:txBody>
          <a:bodyPr/>
          <a:lstStyle>
            <a:lvl2pPr>
              <a:defRPr sz="1600"/>
            </a:lvl2pPr>
            <a:lvl3pPr>
              <a:defRPr sz="1400"/>
            </a:lvl3pPr>
            <a:lvl4pPr>
              <a:defRPr sz="12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p:txBody>
          <a:bodyPr>
            <a:noAutofit/>
          </a:bodyPr>
          <a:lstStyle/>
          <a:p>
            <a:r>
              <a:rPr lang="en-US"/>
              <a:t>Click to edit Master title style</a:t>
            </a:r>
          </a:p>
        </p:txBody>
      </p:sp>
      <p:sp>
        <p:nvSpPr>
          <p:cNvPr id="7" name="Slide Number Placeholder 6"/>
          <p:cNvSpPr>
            <a:spLocks noGrp="1"/>
          </p:cNvSpPr>
          <p:nvPr>
            <p:ph type="sldNum" sz="quarter" idx="10"/>
          </p:nvPr>
        </p:nvSpPr>
        <p:spPr/>
        <p:txBody>
          <a:bodyPr>
            <a:noAutofit/>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33142968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2">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7250" y="59945"/>
            <a:ext cx="7462661" cy="941541"/>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857250" y="1215384"/>
            <a:ext cx="7462661" cy="367592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6985487" y="59945"/>
            <a:ext cx="2057400" cy="273844"/>
          </a:xfrm>
          <a:prstGeom prst="rect">
            <a:avLst/>
          </a:prstGeom>
        </p:spPr>
        <p:txBody>
          <a:bodyPr vert="horz" lIns="91440" tIns="45720" rIns="91440" bIns="45720" rtlCol="0" anchor="ctr"/>
          <a:lstStyle>
            <a:lvl1pPr algn="r">
              <a:defRPr sz="900">
                <a:solidFill>
                  <a:schemeClr val="tx1"/>
                </a:solidFill>
              </a:defRPr>
            </a:lvl1pPr>
          </a:lstStyle>
          <a:p>
            <a:fld id="{42AD0A0E-4515-A647-B2E3-7F1B29FB990E}" type="slidenum">
              <a:rPr lang="en-US" smtClean="0"/>
              <a:pPr/>
              <a:t>‹#›</a:t>
            </a:fld>
            <a:endParaRPr lang="en-US"/>
          </a:p>
        </p:txBody>
      </p:sp>
      <p:pic>
        <p:nvPicPr>
          <p:cNvPr id="7" name="Picture 6"/>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8220611" y="4380219"/>
            <a:ext cx="822276" cy="639548"/>
          </a:xfrm>
          <a:prstGeom prst="rect">
            <a:avLst/>
          </a:prstGeom>
        </p:spPr>
      </p:pic>
      <p:sp>
        <p:nvSpPr>
          <p:cNvPr id="14" name="Freeform 13"/>
          <p:cNvSpPr/>
          <p:nvPr userDrawn="1"/>
        </p:nvSpPr>
        <p:spPr>
          <a:xfrm>
            <a:off x="474944" y="647700"/>
            <a:ext cx="45719" cy="353786"/>
          </a:xfrm>
          <a:custGeom>
            <a:avLst/>
            <a:gdLst>
              <a:gd name="connsiteX0" fmla="*/ 0 w 0"/>
              <a:gd name="connsiteY0" fmla="*/ 0 h 522514"/>
              <a:gd name="connsiteX1" fmla="*/ 0 w 0"/>
              <a:gd name="connsiteY1" fmla="*/ 522514 h 522514"/>
            </a:gdLst>
            <a:ahLst/>
            <a:cxnLst>
              <a:cxn ang="0">
                <a:pos x="connsiteX0" y="connsiteY0"/>
              </a:cxn>
              <a:cxn ang="0">
                <a:pos x="connsiteX1" y="connsiteY1"/>
              </a:cxn>
            </a:cxnLst>
            <a:rect l="l" t="t" r="r" b="b"/>
            <a:pathLst>
              <a:path h="522514">
                <a:moveTo>
                  <a:pt x="0" y="0"/>
                </a:moveTo>
                <a:lnTo>
                  <a:pt x="0" y="522514"/>
                </a:lnTo>
              </a:path>
            </a:pathLst>
          </a:custGeom>
          <a:noFill/>
          <a:ln w="190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14"/>
          <p:cNvSpPr/>
          <p:nvPr userDrawn="1"/>
        </p:nvSpPr>
        <p:spPr>
          <a:xfrm flipV="1">
            <a:off x="474944" y="957127"/>
            <a:ext cx="7844967" cy="45719"/>
          </a:xfrm>
          <a:custGeom>
            <a:avLst/>
            <a:gdLst>
              <a:gd name="connsiteX0" fmla="*/ 0 w 7409543"/>
              <a:gd name="connsiteY0" fmla="*/ 0 h 0"/>
              <a:gd name="connsiteX1" fmla="*/ 0 w 7409543"/>
              <a:gd name="connsiteY1" fmla="*/ 0 h 0"/>
              <a:gd name="connsiteX2" fmla="*/ 7409543 w 7409543"/>
              <a:gd name="connsiteY2" fmla="*/ 0 h 0"/>
              <a:gd name="connsiteX3" fmla="*/ 7409543 w 7409543"/>
              <a:gd name="connsiteY3" fmla="*/ 0 h 0"/>
            </a:gdLst>
            <a:ahLst/>
            <a:cxnLst>
              <a:cxn ang="0">
                <a:pos x="connsiteX0" y="connsiteY0"/>
              </a:cxn>
              <a:cxn ang="0">
                <a:pos x="connsiteX1" y="connsiteY1"/>
              </a:cxn>
              <a:cxn ang="0">
                <a:pos x="connsiteX2" y="connsiteY2"/>
              </a:cxn>
              <a:cxn ang="0">
                <a:pos x="connsiteX3" y="connsiteY3"/>
              </a:cxn>
            </a:cxnLst>
            <a:rect l="l" t="t" r="r" b="b"/>
            <a:pathLst>
              <a:path w="7409543">
                <a:moveTo>
                  <a:pt x="0" y="0"/>
                </a:moveTo>
                <a:lnTo>
                  <a:pt x="0" y="0"/>
                </a:lnTo>
                <a:lnTo>
                  <a:pt x="7409543" y="0"/>
                </a:lnTo>
                <a:lnTo>
                  <a:pt x="7409543" y="0"/>
                </a:lnTo>
              </a:path>
            </a:pathLst>
          </a:custGeom>
          <a:noFill/>
          <a:ln w="190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8853049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7" r:id="rId4"/>
    <p:sldLayoutId id="2147483668" r:id="rId5"/>
    <p:sldLayoutId id="2147483664" r:id="rId6"/>
    <p:sldLayoutId id="2147483666" r:id="rId7"/>
    <p:sldLayoutId id="2147483669" r:id="rId8"/>
    <p:sldLayoutId id="2147483670" r:id="rId9"/>
    <p:sldLayoutId id="2147483671" r:id="rId10"/>
  </p:sldLayoutIdLst>
  <p:hf hdr="0" ftr="0" dt="0"/>
  <p:txStyles>
    <p:title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p:titleStyle>
    <p:body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mn-lt"/>
          <a:ea typeface="+mn-ea"/>
          <a:cs typeface="+mn-cs"/>
        </a:defRPr>
      </a:lvl1pPr>
      <a:lvl2pPr marL="527050" indent="-171450" algn="l" defTabSz="685800"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mn-lt"/>
          <a:ea typeface="+mn-ea"/>
          <a:cs typeface="+mn-cs"/>
        </a:defRPr>
      </a:lvl2pPr>
      <a:lvl3pPr marL="755650" indent="-114300" algn="l" defTabSz="685800" rtl="0" eaLnBrk="1" latinLnBrk="0" hangingPunct="1">
        <a:lnSpc>
          <a:spcPct val="90000"/>
        </a:lnSpc>
        <a:spcBef>
          <a:spcPts val="375"/>
        </a:spcBef>
        <a:buClr>
          <a:srgbClr val="F28C11"/>
        </a:buClr>
        <a:buFont typeface="Wingdings" charset="2"/>
        <a:buChar char="§"/>
        <a:tabLst/>
        <a:defRPr sz="1400" kern="1200">
          <a:solidFill>
            <a:schemeClr val="tx1"/>
          </a:solidFill>
          <a:latin typeface="+mn-lt"/>
          <a:ea typeface="+mn-ea"/>
          <a:cs typeface="+mn-cs"/>
        </a:defRPr>
      </a:lvl3pPr>
      <a:lvl4pPr marL="984250" indent="-114300" algn="l" defTabSz="685800"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mn-lt"/>
          <a:ea typeface="+mn-ea"/>
          <a:cs typeface="+mn-cs"/>
        </a:defRPr>
      </a:lvl4pPr>
      <a:lvl5pPr marL="1270000" indent="-171450" algn="l" defTabSz="685800" rtl="0" eaLnBrk="1" latinLnBrk="0" hangingPunct="1">
        <a:lnSpc>
          <a:spcPct val="90000"/>
        </a:lnSpc>
        <a:spcBef>
          <a:spcPts val="375"/>
        </a:spcBef>
        <a:buClr>
          <a:srgbClr val="F28C11"/>
        </a:buClr>
        <a:buFont typeface="Courier New" charset="0"/>
        <a:buChar char="o"/>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microsoft.com/office/2017/06/relationships/model3d" Target="../media/model3d1.glb"/><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34.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microsoft.com/office/2007/relationships/media" Target="../media/media1.mp3"/><Relationship Id="rId1" Type="http://schemas.openxmlformats.org/officeDocument/2006/relationships/audio" Target="NULL" TargetMode="External"/><Relationship Id="rId5" Type="http://schemas.openxmlformats.org/officeDocument/2006/relationships/image" Target="../media/image35.png"/><Relationship Id="rId4"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4.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notesSlide" Target="../notesSlides/notesSlide13.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slideLayout" Target="../slideLayouts/slideLayout7.xml"/><Relationship Id="rId2" Type="http://schemas.openxmlformats.org/officeDocument/2006/relationships/tags" Target="../tags/tag3.xml"/><Relationship Id="rId16" Type="http://schemas.openxmlformats.org/officeDocument/2006/relationships/tags" Target="../tags/tag17.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17.xml.rels><?xml version="1.0" encoding="UTF-8" standalone="yes"?>
<Relationships xmlns="http://schemas.openxmlformats.org/package/2006/relationships"><Relationship Id="rId13" Type="http://schemas.openxmlformats.org/officeDocument/2006/relationships/tags" Target="../tags/tag30.xml"/><Relationship Id="rId18" Type="http://schemas.openxmlformats.org/officeDocument/2006/relationships/tags" Target="../tags/tag35.xml"/><Relationship Id="rId26" Type="http://schemas.openxmlformats.org/officeDocument/2006/relationships/tags" Target="../tags/tag43.xml"/><Relationship Id="rId39" Type="http://schemas.openxmlformats.org/officeDocument/2006/relationships/notesSlide" Target="../notesSlides/notesSlide14.xml"/><Relationship Id="rId21" Type="http://schemas.openxmlformats.org/officeDocument/2006/relationships/tags" Target="../tags/tag38.xml"/><Relationship Id="rId34" Type="http://schemas.openxmlformats.org/officeDocument/2006/relationships/tags" Target="../tags/tag51.xml"/><Relationship Id="rId7" Type="http://schemas.openxmlformats.org/officeDocument/2006/relationships/tags" Target="../tags/tag24.xml"/><Relationship Id="rId2" Type="http://schemas.openxmlformats.org/officeDocument/2006/relationships/tags" Target="../tags/tag19.xml"/><Relationship Id="rId16" Type="http://schemas.openxmlformats.org/officeDocument/2006/relationships/tags" Target="../tags/tag33.xml"/><Relationship Id="rId20" Type="http://schemas.openxmlformats.org/officeDocument/2006/relationships/tags" Target="../tags/tag37.xml"/><Relationship Id="rId29" Type="http://schemas.openxmlformats.org/officeDocument/2006/relationships/tags" Target="../tags/tag46.xml"/><Relationship Id="rId41" Type="http://schemas.openxmlformats.org/officeDocument/2006/relationships/image" Target="../media/image38.svg"/><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tags" Target="../tags/tag28.xml"/><Relationship Id="rId24" Type="http://schemas.openxmlformats.org/officeDocument/2006/relationships/tags" Target="../tags/tag41.xml"/><Relationship Id="rId32" Type="http://schemas.openxmlformats.org/officeDocument/2006/relationships/tags" Target="../tags/tag49.xml"/><Relationship Id="rId37" Type="http://schemas.openxmlformats.org/officeDocument/2006/relationships/tags" Target="../tags/tag54.xml"/><Relationship Id="rId40" Type="http://schemas.openxmlformats.org/officeDocument/2006/relationships/image" Target="../media/image37.png"/><Relationship Id="rId5" Type="http://schemas.openxmlformats.org/officeDocument/2006/relationships/tags" Target="../tags/tag22.xml"/><Relationship Id="rId15" Type="http://schemas.openxmlformats.org/officeDocument/2006/relationships/tags" Target="../tags/tag32.xml"/><Relationship Id="rId23" Type="http://schemas.openxmlformats.org/officeDocument/2006/relationships/tags" Target="../tags/tag40.xml"/><Relationship Id="rId28" Type="http://schemas.openxmlformats.org/officeDocument/2006/relationships/tags" Target="../tags/tag45.xml"/><Relationship Id="rId36" Type="http://schemas.openxmlformats.org/officeDocument/2006/relationships/tags" Target="../tags/tag53.xml"/><Relationship Id="rId10" Type="http://schemas.openxmlformats.org/officeDocument/2006/relationships/tags" Target="../tags/tag27.xml"/><Relationship Id="rId19" Type="http://schemas.openxmlformats.org/officeDocument/2006/relationships/tags" Target="../tags/tag36.xml"/><Relationship Id="rId31" Type="http://schemas.openxmlformats.org/officeDocument/2006/relationships/tags" Target="../tags/tag48.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tags" Target="../tags/tag39.xml"/><Relationship Id="rId27" Type="http://schemas.openxmlformats.org/officeDocument/2006/relationships/tags" Target="../tags/tag44.xml"/><Relationship Id="rId30" Type="http://schemas.openxmlformats.org/officeDocument/2006/relationships/tags" Target="../tags/tag47.xml"/><Relationship Id="rId35" Type="http://schemas.openxmlformats.org/officeDocument/2006/relationships/tags" Target="../tags/tag52.xml"/><Relationship Id="rId8" Type="http://schemas.openxmlformats.org/officeDocument/2006/relationships/tags" Target="../tags/tag25.xml"/><Relationship Id="rId3" Type="http://schemas.openxmlformats.org/officeDocument/2006/relationships/tags" Target="../tags/tag20.xml"/><Relationship Id="rId12" Type="http://schemas.openxmlformats.org/officeDocument/2006/relationships/tags" Target="../tags/tag29.xml"/><Relationship Id="rId17" Type="http://schemas.openxmlformats.org/officeDocument/2006/relationships/tags" Target="../tags/tag34.xml"/><Relationship Id="rId25" Type="http://schemas.openxmlformats.org/officeDocument/2006/relationships/tags" Target="../tags/tag42.xml"/><Relationship Id="rId33" Type="http://schemas.openxmlformats.org/officeDocument/2006/relationships/tags" Target="../tags/tag50.xml"/><Relationship Id="rId38"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tags" Target="../tags/tag67.xml"/><Relationship Id="rId18" Type="http://schemas.openxmlformats.org/officeDocument/2006/relationships/tags" Target="../tags/tag72.xml"/><Relationship Id="rId3" Type="http://schemas.openxmlformats.org/officeDocument/2006/relationships/tags" Target="../tags/tag57.xml"/><Relationship Id="rId21" Type="http://schemas.openxmlformats.org/officeDocument/2006/relationships/slideLayout" Target="../slideLayouts/slideLayout7.xml"/><Relationship Id="rId7" Type="http://schemas.openxmlformats.org/officeDocument/2006/relationships/tags" Target="../tags/tag61.xml"/><Relationship Id="rId12" Type="http://schemas.openxmlformats.org/officeDocument/2006/relationships/tags" Target="../tags/tag66.xml"/><Relationship Id="rId17" Type="http://schemas.openxmlformats.org/officeDocument/2006/relationships/tags" Target="../tags/tag71.xml"/><Relationship Id="rId2" Type="http://schemas.openxmlformats.org/officeDocument/2006/relationships/tags" Target="../tags/tag56.xml"/><Relationship Id="rId16" Type="http://schemas.openxmlformats.org/officeDocument/2006/relationships/tags" Target="../tags/tag70.xml"/><Relationship Id="rId20" Type="http://schemas.openxmlformats.org/officeDocument/2006/relationships/tags" Target="../tags/tag74.xml"/><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tags" Target="../tags/tag65.xml"/><Relationship Id="rId5" Type="http://schemas.openxmlformats.org/officeDocument/2006/relationships/tags" Target="../tags/tag59.xml"/><Relationship Id="rId15" Type="http://schemas.openxmlformats.org/officeDocument/2006/relationships/tags" Target="../tags/tag69.xml"/><Relationship Id="rId10" Type="http://schemas.openxmlformats.org/officeDocument/2006/relationships/tags" Target="../tags/tag64.xml"/><Relationship Id="rId19" Type="http://schemas.openxmlformats.org/officeDocument/2006/relationships/tags" Target="../tags/tag73.xml"/><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tags" Target="../tags/tag68.xml"/><Relationship Id="rId22" Type="http://schemas.openxmlformats.org/officeDocument/2006/relationships/notesSlide" Target="../notesSlides/notesSlide15.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40.png"/><Relationship Id="rId5" Type="http://schemas.openxmlformats.org/officeDocument/2006/relationships/image" Target="../media/image39.jpeg"/><Relationship Id="rId4" Type="http://schemas.openxmlformats.org/officeDocument/2006/relationships/notesSlide" Target="../notesSlides/notesSlide16.xml"/></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6.png"/><Relationship Id="rId18" Type="http://schemas.openxmlformats.org/officeDocument/2006/relationships/image" Target="../media/image20.jpeg"/><Relationship Id="rId3" Type="http://schemas.openxmlformats.org/officeDocument/2006/relationships/image" Target="../media/image8.jpeg"/><Relationship Id="rId21" Type="http://schemas.openxmlformats.org/officeDocument/2006/relationships/image" Target="../media/image23.jpeg"/><Relationship Id="rId7" Type="http://schemas.openxmlformats.org/officeDocument/2006/relationships/image" Target="../media/image12.png"/><Relationship Id="rId12" Type="http://schemas.openxmlformats.org/officeDocument/2006/relationships/hyperlink" Target="https://www.hcg-int.com/" TargetMode="External"/><Relationship Id="rId17" Type="http://schemas.openxmlformats.org/officeDocument/2006/relationships/image" Target="../media/image19.png"/><Relationship Id="rId25" Type="http://schemas.openxmlformats.org/officeDocument/2006/relationships/image" Target="../media/image27.png"/><Relationship Id="rId2" Type="http://schemas.openxmlformats.org/officeDocument/2006/relationships/notesSlide" Target="../notesSlides/notesSlide2.xml"/><Relationship Id="rId16" Type="http://schemas.openxmlformats.org/officeDocument/2006/relationships/image" Target="../media/image18.png"/><Relationship Id="rId20" Type="http://schemas.openxmlformats.org/officeDocument/2006/relationships/image" Target="../media/image22.png"/><Relationship Id="rId1" Type="http://schemas.openxmlformats.org/officeDocument/2006/relationships/slideLayout" Target="../slideLayouts/slideLayout2.xml"/><Relationship Id="rId6" Type="http://schemas.openxmlformats.org/officeDocument/2006/relationships/image" Target="../media/image11.jpeg"/><Relationship Id="rId11" Type="http://schemas.openxmlformats.org/officeDocument/2006/relationships/image" Target="../media/image15.png"/><Relationship Id="rId24" Type="http://schemas.openxmlformats.org/officeDocument/2006/relationships/image" Target="../media/image26.png"/><Relationship Id="rId5" Type="http://schemas.openxmlformats.org/officeDocument/2006/relationships/image" Target="../media/image10.png"/><Relationship Id="rId15" Type="http://schemas.openxmlformats.org/officeDocument/2006/relationships/image" Target="../media/image17.png"/><Relationship Id="rId23" Type="http://schemas.openxmlformats.org/officeDocument/2006/relationships/image" Target="../media/image25.png"/><Relationship Id="rId10" Type="http://schemas.openxmlformats.org/officeDocument/2006/relationships/image" Target="../media/image14.png"/><Relationship Id="rId19" Type="http://schemas.openxmlformats.org/officeDocument/2006/relationships/image" Target="../media/image21.png"/><Relationship Id="rId4" Type="http://schemas.openxmlformats.org/officeDocument/2006/relationships/image" Target="../media/image9.jpeg"/><Relationship Id="rId9" Type="http://schemas.openxmlformats.org/officeDocument/2006/relationships/hyperlink" Target="https://www.pfizer.com/" TargetMode="External"/><Relationship Id="rId14" Type="http://schemas.openxmlformats.org/officeDocument/2006/relationships/hyperlink" Target="http://www.bms.com/pages/default.aspx" TargetMode="External"/><Relationship Id="rId22" Type="http://schemas.openxmlformats.org/officeDocument/2006/relationships/image" Target="../media/image24.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hyperlink" Target="https://www.cnbc.com/2023/01/18/70percent-of-gen-z-and-millennials-are-considering-leaving-their-jobs-soon.html" TargetMode="External"/><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hyperlink" Target="https://courses.lumenlearning.com/boundless-business/chapter/performance-promotion-and-firing/" TargetMode="External"/><Relationship Id="rId5" Type="http://schemas.openxmlformats.org/officeDocument/2006/relationships/image" Target="../media/image41.jpeg"/><Relationship Id="rId4" Type="http://schemas.openxmlformats.org/officeDocument/2006/relationships/hyperlink" Target="https://www.gallup.com/workplace/506819/half-employees-looking-leave.aspx" TargetMode="Externa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3.xml.rels><?xml version="1.0" encoding="UTF-8" standalone="yes"?>
<Relationships xmlns="http://schemas.openxmlformats.org/package/2006/relationships"><Relationship Id="rId8" Type="http://schemas.openxmlformats.org/officeDocument/2006/relationships/hyperlink" Target="https://www.forbes.com/sites/shephyken/2023/07/09/beyond-money-the-real-reasons-employees-stay-or-leave/" TargetMode="External"/><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0.xml"/><Relationship Id="rId1" Type="http://schemas.openxmlformats.org/officeDocument/2006/relationships/slideLayout" Target="../slideLayouts/slideLayout6.xml"/><Relationship Id="rId6" Type="http://schemas.openxmlformats.org/officeDocument/2006/relationships/diagramColors" Target="../diagrams/colors5.xml"/><Relationship Id="rId5" Type="http://schemas.openxmlformats.org/officeDocument/2006/relationships/diagramQuickStyle" Target="../diagrams/quickStyle5.xml"/><Relationship Id="rId10" Type="http://schemas.openxmlformats.org/officeDocument/2006/relationships/hyperlink" Target="https://time.com/6990595/workers-quitting-task-sequencing-essay/" TargetMode="External"/><Relationship Id="rId4" Type="http://schemas.openxmlformats.org/officeDocument/2006/relationships/diagramLayout" Target="../diagrams/layout5.xml"/><Relationship Id="rId9" Type="http://schemas.openxmlformats.org/officeDocument/2006/relationships/hyperlink" Target="https://www.mckinsey.com/featured-insights/themes/why-employees-are-quitting-and-what-to-do-about-it" TargetMode="Externa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1.xml"/><Relationship Id="rId1" Type="http://schemas.openxmlformats.org/officeDocument/2006/relationships/slideLayout" Target="../slideLayouts/slideLayout6.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2.xml"/><Relationship Id="rId1" Type="http://schemas.openxmlformats.org/officeDocument/2006/relationships/slideLayout" Target="../slideLayouts/slideLayout6.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3.xml"/><Relationship Id="rId1" Type="http://schemas.openxmlformats.org/officeDocument/2006/relationships/tags" Target="../tags/tag75.xml"/><Relationship Id="rId5" Type="http://schemas.openxmlformats.org/officeDocument/2006/relationships/image" Target="../media/image70.emf"/><Relationship Id="rId4" Type="http://schemas.openxmlformats.org/officeDocument/2006/relationships/oleObject" Target="../embeddings/oleObject1.bin"/></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30.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33.jpeg"/><Relationship Id="rId4" Type="http://schemas.openxmlformats.org/officeDocument/2006/relationships/image" Target="../media/image3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01959-1619-4F96-8E97-53B7A28A6417}"/>
              </a:ext>
            </a:extLst>
          </p:cNvPr>
          <p:cNvSpPr>
            <a:spLocks noGrp="1"/>
          </p:cNvSpPr>
          <p:nvPr>
            <p:ph type="ctrTitle"/>
          </p:nvPr>
        </p:nvSpPr>
        <p:spPr>
          <a:xfrm>
            <a:off x="4745892" y="764604"/>
            <a:ext cx="3877408" cy="1111133"/>
          </a:xfrm>
        </p:spPr>
        <p:txBody>
          <a:bodyPr/>
          <a:lstStyle/>
          <a:p>
            <a:r>
              <a:rPr lang="en-US"/>
              <a:t>ISMPP University</a:t>
            </a:r>
          </a:p>
        </p:txBody>
      </p:sp>
      <p:sp>
        <p:nvSpPr>
          <p:cNvPr id="3" name="Subtitle 2">
            <a:extLst>
              <a:ext uri="{FF2B5EF4-FFF2-40B4-BE49-F238E27FC236}">
                <a16:creationId xmlns:a16="http://schemas.microsoft.com/office/drawing/2014/main" id="{F6A5669E-B61B-4FF9-8070-490009B12AEA}"/>
              </a:ext>
            </a:extLst>
          </p:cNvPr>
          <p:cNvSpPr>
            <a:spLocks noGrp="1"/>
          </p:cNvSpPr>
          <p:nvPr>
            <p:ph type="subTitle" idx="1"/>
          </p:nvPr>
        </p:nvSpPr>
        <p:spPr>
          <a:xfrm>
            <a:off x="4360729" y="2133834"/>
            <a:ext cx="4573194" cy="2166511"/>
          </a:xfrm>
        </p:spPr>
        <p:txBody>
          <a:bodyPr vert="horz" lIns="68580" tIns="34290" rIns="68580" bIns="34290" rtlCol="0" anchor="t">
            <a:noAutofit/>
          </a:bodyPr>
          <a:lstStyle/>
          <a:p>
            <a:r>
              <a:rPr lang="en-US" sz="2175"/>
              <a:t>Retaining Top Talent in Medical Publications</a:t>
            </a:r>
          </a:p>
        </p:txBody>
      </p:sp>
      <p:sp>
        <p:nvSpPr>
          <p:cNvPr id="4" name="TextBox 3">
            <a:extLst>
              <a:ext uri="{FF2B5EF4-FFF2-40B4-BE49-F238E27FC236}">
                <a16:creationId xmlns:a16="http://schemas.microsoft.com/office/drawing/2014/main" id="{F0FD9C17-DA93-4646-8A02-B34096B5D343}"/>
              </a:ext>
            </a:extLst>
          </p:cNvPr>
          <p:cNvSpPr txBox="1"/>
          <p:nvPr/>
        </p:nvSpPr>
        <p:spPr>
          <a:xfrm>
            <a:off x="58782" y="3905796"/>
            <a:ext cx="1998618" cy="715837"/>
          </a:xfrm>
          <a:prstGeom prst="rect">
            <a:avLst/>
          </a:prstGeom>
          <a:noFill/>
        </p:spPr>
        <p:txBody>
          <a:bodyPr wrap="square" rtlCol="0">
            <a:spAutoFit/>
          </a:bodyPr>
          <a:lstStyle/>
          <a:p>
            <a:pPr defTabSz="685783">
              <a:defRPr/>
            </a:pPr>
            <a:endParaRPr lang="en-US" sz="1013">
              <a:solidFill>
                <a:prstClr val="black"/>
              </a:solidFill>
              <a:latin typeface="Franklin Gothic Book" panose="020B0503020102020204"/>
            </a:endParaRPr>
          </a:p>
          <a:p>
            <a:pPr defTabSz="685783">
              <a:defRPr/>
            </a:pPr>
            <a:endParaRPr lang="en-US" sz="1013">
              <a:solidFill>
                <a:prstClr val="black"/>
              </a:solidFill>
              <a:latin typeface="Franklin Gothic Book" panose="020B0503020102020204"/>
            </a:endParaRPr>
          </a:p>
          <a:p>
            <a:pPr defTabSz="685783">
              <a:defRPr/>
            </a:pPr>
            <a:r>
              <a:rPr lang="en-US" sz="1013" b="1">
                <a:solidFill>
                  <a:prstClr val="black"/>
                </a:solidFill>
                <a:latin typeface="Franklin Gothic Book" panose="020B0503020102020204"/>
              </a:rPr>
              <a:t>Webinar will begin promptly at: </a:t>
            </a:r>
          </a:p>
          <a:p>
            <a:pPr defTabSz="685783">
              <a:defRPr/>
            </a:pPr>
            <a:r>
              <a:rPr lang="en-US" sz="1013" b="1">
                <a:solidFill>
                  <a:prstClr val="black"/>
                </a:solidFill>
                <a:latin typeface="Franklin Gothic Book" panose="020B0503020102020204"/>
              </a:rPr>
              <a:t>11 AM ET / 4 PM GMT</a:t>
            </a:r>
          </a:p>
        </p:txBody>
      </p:sp>
      <p:sp>
        <p:nvSpPr>
          <p:cNvPr id="5" name="TextBox 4">
            <a:extLst>
              <a:ext uri="{FF2B5EF4-FFF2-40B4-BE49-F238E27FC236}">
                <a16:creationId xmlns:a16="http://schemas.microsoft.com/office/drawing/2014/main" id="{B51E204F-7927-43EE-8EBD-37CA3BC7DC54}"/>
              </a:ext>
            </a:extLst>
          </p:cNvPr>
          <p:cNvSpPr txBox="1"/>
          <p:nvPr/>
        </p:nvSpPr>
        <p:spPr>
          <a:xfrm>
            <a:off x="4669883" y="2973493"/>
            <a:ext cx="3696789" cy="334707"/>
          </a:xfrm>
          <a:prstGeom prst="rect">
            <a:avLst/>
          </a:prstGeom>
          <a:noFill/>
        </p:spPr>
        <p:txBody>
          <a:bodyPr wrap="square" lIns="91440" tIns="45720" rIns="91440" bIns="45720" rtlCol="0" anchor="t">
            <a:spAutoFit/>
          </a:bodyPr>
          <a:lstStyle/>
          <a:p>
            <a:pPr algn="ctr">
              <a:defRPr/>
            </a:pPr>
            <a:r>
              <a:rPr lang="en-US" sz="1550" b="1">
                <a:latin typeface="Franklin Gothic Book" panose="020B0503020102020204"/>
              </a:rPr>
              <a:t>September 18, 2024</a:t>
            </a:r>
          </a:p>
        </p:txBody>
      </p:sp>
    </p:spTree>
    <p:custDataLst>
      <p:tags r:id="rId1"/>
    </p:custDataLst>
    <p:extLst>
      <p:ext uri="{BB962C8B-B14F-4D97-AF65-F5344CB8AC3E}">
        <p14:creationId xmlns:p14="http://schemas.microsoft.com/office/powerpoint/2010/main" val="9261148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223BBC-1864-437A-AF1F-E7E98CC595D9}"/>
              </a:ext>
            </a:extLst>
          </p:cNvPr>
          <p:cNvSpPr>
            <a:spLocks noGrp="1"/>
          </p:cNvSpPr>
          <p:nvPr>
            <p:ph type="title"/>
          </p:nvPr>
        </p:nvSpPr>
        <p:spPr/>
        <p:txBody>
          <a:bodyPr/>
          <a:lstStyle/>
          <a:p>
            <a:r>
              <a:rPr lang="en-US">
                <a:solidFill>
                  <a:srgbClr val="0070C0"/>
                </a:solidFill>
              </a:rPr>
              <a:t>Understanding Current Challenges</a:t>
            </a:r>
          </a:p>
        </p:txBody>
      </p:sp>
      <p:sp>
        <p:nvSpPr>
          <p:cNvPr id="4" name="Slide Number Placeholder 3">
            <a:extLst>
              <a:ext uri="{FF2B5EF4-FFF2-40B4-BE49-F238E27FC236}">
                <a16:creationId xmlns:a16="http://schemas.microsoft.com/office/drawing/2014/main" id="{A2379AD8-4241-4979-A2D0-DF387A92FAB3}"/>
              </a:ext>
            </a:extLst>
          </p:cNvPr>
          <p:cNvSpPr>
            <a:spLocks noGrp="1"/>
          </p:cNvSpPr>
          <p:nvPr>
            <p:ph type="sldNum" sz="quarter" idx="10"/>
          </p:nvPr>
        </p:nvSpPr>
        <p:spPr/>
        <p:txBody>
          <a:bodyPr/>
          <a:lstStyle/>
          <a:p>
            <a:fld id="{42AD0A0E-4515-A647-B2E3-7F1B29FB990E}" type="slidenum">
              <a:rPr lang="en-US" smtClean="0"/>
              <a:pPr/>
              <a:t>10</a:t>
            </a:fld>
            <a:endParaRPr lang="en-US"/>
          </a:p>
        </p:txBody>
      </p:sp>
      <p:sp>
        <p:nvSpPr>
          <p:cNvPr id="2" name="TextBox 1">
            <a:extLst>
              <a:ext uri="{FF2B5EF4-FFF2-40B4-BE49-F238E27FC236}">
                <a16:creationId xmlns:a16="http://schemas.microsoft.com/office/drawing/2014/main" id="{822CE66F-62CB-FFB2-436E-8A10ABAC14AD}"/>
              </a:ext>
            </a:extLst>
          </p:cNvPr>
          <p:cNvSpPr txBox="1"/>
          <p:nvPr/>
        </p:nvSpPr>
        <p:spPr>
          <a:xfrm>
            <a:off x="3052916" y="3266768"/>
            <a:ext cx="3753465" cy="507831"/>
          </a:xfrm>
          <a:prstGeom prst="rect">
            <a:avLst/>
          </a:prstGeom>
          <a:noFill/>
        </p:spPr>
        <p:txBody>
          <a:bodyPr wrap="square" rtlCol="0">
            <a:spAutoFit/>
          </a:bodyPr>
          <a:lstStyle/>
          <a:p>
            <a:r>
              <a:rPr lang="en-US"/>
              <a:t>Whitney Morris, Practice Lead, Medical Affairs Recruiting LLC</a:t>
            </a:r>
          </a:p>
        </p:txBody>
      </p:sp>
    </p:spTree>
    <p:extLst>
      <p:ext uri="{BB962C8B-B14F-4D97-AF65-F5344CB8AC3E}">
        <p14:creationId xmlns:p14="http://schemas.microsoft.com/office/powerpoint/2010/main" val="13302606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64D9EED-58A2-F492-9765-F66D504CDD50}"/>
              </a:ext>
            </a:extLst>
          </p:cNvPr>
          <p:cNvSpPr>
            <a:spLocks noGrp="1"/>
          </p:cNvSpPr>
          <p:nvPr>
            <p:ph type="title"/>
          </p:nvPr>
        </p:nvSpPr>
        <p:spPr/>
        <p:txBody>
          <a:bodyPr/>
          <a:lstStyle/>
          <a:p>
            <a:r>
              <a:rPr lang="en-US">
                <a:solidFill>
                  <a:srgbClr val="0070C0"/>
                </a:solidFill>
              </a:rPr>
              <a:t>Today’s Market</a:t>
            </a:r>
          </a:p>
        </p:txBody>
      </p:sp>
      <p:sp>
        <p:nvSpPr>
          <p:cNvPr id="6" name="Content Placeholder 5">
            <a:extLst>
              <a:ext uri="{FF2B5EF4-FFF2-40B4-BE49-F238E27FC236}">
                <a16:creationId xmlns:a16="http://schemas.microsoft.com/office/drawing/2014/main" id="{03C6B752-2F93-14CB-E970-CF303DAE9425}"/>
              </a:ext>
            </a:extLst>
          </p:cNvPr>
          <p:cNvSpPr>
            <a:spLocks noGrp="1"/>
          </p:cNvSpPr>
          <p:nvPr>
            <p:ph sz="half" idx="1"/>
          </p:nvPr>
        </p:nvSpPr>
        <p:spPr>
          <a:xfrm>
            <a:off x="857250" y="1369219"/>
            <a:ext cx="3462161" cy="1864211"/>
          </a:xfrm>
        </p:spPr>
        <p:txBody>
          <a:bodyPr>
            <a:normAutofit/>
          </a:bodyPr>
          <a:lstStyle/>
          <a:p>
            <a:r>
              <a:rPr lang="en-US"/>
              <a:t>Less jobs</a:t>
            </a:r>
          </a:p>
          <a:p>
            <a:endParaRPr lang="en-US"/>
          </a:p>
          <a:p>
            <a:endParaRPr lang="en-US"/>
          </a:p>
          <a:p>
            <a:r>
              <a:rPr lang="en-US"/>
              <a:t>The Time of the “Haves” and the “Have Nots”</a:t>
            </a:r>
          </a:p>
          <a:p>
            <a:pPr marL="355600" lvl="1" indent="0">
              <a:buNone/>
            </a:pPr>
            <a:endParaRPr lang="en-US"/>
          </a:p>
        </p:txBody>
      </p:sp>
      <p:sp>
        <p:nvSpPr>
          <p:cNvPr id="7" name="Content Placeholder 6">
            <a:extLst>
              <a:ext uri="{FF2B5EF4-FFF2-40B4-BE49-F238E27FC236}">
                <a16:creationId xmlns:a16="http://schemas.microsoft.com/office/drawing/2014/main" id="{F28F4B27-25D6-75A1-6E05-2559108C5688}"/>
              </a:ext>
            </a:extLst>
          </p:cNvPr>
          <p:cNvSpPr>
            <a:spLocks noGrp="1"/>
          </p:cNvSpPr>
          <p:nvPr>
            <p:ph sz="half" idx="2"/>
          </p:nvPr>
        </p:nvSpPr>
        <p:spPr>
          <a:xfrm>
            <a:off x="4857750" y="1369219"/>
            <a:ext cx="3462161" cy="678620"/>
          </a:xfrm>
        </p:spPr>
        <p:txBody>
          <a:bodyPr>
            <a:normAutofit/>
          </a:bodyPr>
          <a:lstStyle/>
          <a:p>
            <a:r>
              <a:rPr lang="en-US"/>
              <a:t>Why the layoffs?</a:t>
            </a:r>
          </a:p>
          <a:p>
            <a:pPr lvl="1"/>
            <a:r>
              <a:rPr lang="en-US"/>
              <a:t>Big/Medium Pharma</a:t>
            </a:r>
          </a:p>
          <a:p>
            <a:pPr marL="355600" lvl="1" indent="0">
              <a:buNone/>
            </a:pPr>
            <a:endParaRPr lang="en-US"/>
          </a:p>
        </p:txBody>
      </p:sp>
      <p:sp>
        <p:nvSpPr>
          <p:cNvPr id="4" name="Slide Number Placeholder 3">
            <a:extLst>
              <a:ext uri="{FF2B5EF4-FFF2-40B4-BE49-F238E27FC236}">
                <a16:creationId xmlns:a16="http://schemas.microsoft.com/office/drawing/2014/main" id="{28A7B97B-345C-9905-2F8C-CB4526E6276F}"/>
              </a:ext>
            </a:extLst>
          </p:cNvPr>
          <p:cNvSpPr>
            <a:spLocks noGrp="1"/>
          </p:cNvSpPr>
          <p:nvPr>
            <p:ph type="sldNum" sz="quarter" idx="10"/>
          </p:nvPr>
        </p:nvSpPr>
        <p:spPr/>
        <p:txBody>
          <a:bodyPr/>
          <a:lstStyle/>
          <a:p>
            <a:fld id="{42AD0A0E-4515-A647-B2E3-7F1B29FB990E}" type="slidenum">
              <a:rPr lang="en-US" smtClean="0"/>
              <a:pPr/>
              <a:t>11</a:t>
            </a:fld>
            <a:endParaRPr lang="en-US"/>
          </a:p>
        </p:txBody>
      </p:sp>
      <p:sp>
        <p:nvSpPr>
          <p:cNvPr id="8" name="TextBox 7">
            <a:extLst>
              <a:ext uri="{FF2B5EF4-FFF2-40B4-BE49-F238E27FC236}">
                <a16:creationId xmlns:a16="http://schemas.microsoft.com/office/drawing/2014/main" id="{9008FC47-99AC-E95C-020D-C523062D6C4A}"/>
              </a:ext>
            </a:extLst>
          </p:cNvPr>
          <p:cNvSpPr txBox="1"/>
          <p:nvPr/>
        </p:nvSpPr>
        <p:spPr>
          <a:xfrm>
            <a:off x="857250" y="4112016"/>
            <a:ext cx="7127452" cy="523220"/>
          </a:xfrm>
          <a:prstGeom prst="rect">
            <a:avLst/>
          </a:prstGeom>
          <a:noFill/>
        </p:spPr>
        <p:txBody>
          <a:bodyPr wrap="square" lIns="91440" tIns="45720" rIns="91440" bIns="45720" anchor="t">
            <a:spAutoFit/>
          </a:bodyPr>
          <a:lstStyle/>
          <a:p>
            <a:pPr algn="ctr"/>
            <a:r>
              <a:rPr lang="en-US" sz="2800" b="1" cap="none" spc="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LOTS OF CANDIDATES = </a:t>
            </a:r>
            <a:r>
              <a:rPr lang="en-US" sz="2800" b="1" cap="none" spc="0">
                <a:ln w="9525">
                  <a:solidFill>
                    <a:schemeClr val="bg1"/>
                  </a:solidFill>
                  <a:prstDash val="solid"/>
                </a:ln>
                <a:solidFill>
                  <a:srgbClr val="FF0000"/>
                </a:solidFill>
                <a:effectLst>
                  <a:outerShdw blurRad="12700" dist="38100" dir="2700000" algn="tl" rotWithShape="0">
                    <a:schemeClr val="accent5">
                      <a:lumMod val="60000"/>
                      <a:lumOff val="40000"/>
                    </a:schemeClr>
                  </a:outerShdw>
                </a:effectLst>
              </a:rPr>
              <a:t>FIERCE </a:t>
            </a:r>
            <a:r>
              <a:rPr lang="en-US" sz="2800" b="1">
                <a:ln w="9525">
                  <a:solidFill>
                    <a:schemeClr val="bg1"/>
                  </a:solidFill>
                  <a:prstDash val="solid"/>
                </a:ln>
                <a:solidFill>
                  <a:srgbClr val="FF0000"/>
                </a:solidFill>
                <a:effectLst>
                  <a:outerShdw blurRad="12700" dist="38100" dir="2700000" algn="tl" rotWithShape="0">
                    <a:schemeClr val="accent5">
                      <a:lumMod val="60000"/>
                      <a:lumOff val="40000"/>
                    </a:schemeClr>
                  </a:outerShdw>
                </a:effectLst>
              </a:rPr>
              <a:t>COMPETITION</a:t>
            </a:r>
            <a:endParaRPr lang="en-US">
              <a:solidFill>
                <a:srgbClr val="FF0000"/>
              </a:solidFill>
            </a:endParaRPr>
          </a:p>
        </p:txBody>
      </p:sp>
      <mc:AlternateContent xmlns:mc="http://schemas.openxmlformats.org/markup-compatibility/2006">
        <mc:Choice xmlns:am3d="http://schemas.microsoft.com/office/drawing/2017/model3d" Requires="am3d">
          <p:graphicFrame>
            <p:nvGraphicFramePr>
              <p:cNvPr id="9" name="3D Model 8" descr="8">
                <a:extLst>
                  <a:ext uri="{FF2B5EF4-FFF2-40B4-BE49-F238E27FC236}">
                    <a16:creationId xmlns:a16="http://schemas.microsoft.com/office/drawing/2014/main" id="{6CC4F7B9-8AA7-912A-DF60-62B3EB1D0F0D}"/>
                  </a:ext>
                </a:extLst>
              </p:cNvPr>
              <p:cNvGraphicFramePr>
                <a:graphicFrameLocks noChangeAspect="1"/>
              </p:cNvGraphicFramePr>
              <p:nvPr/>
            </p:nvGraphicFramePr>
            <p:xfrm>
              <a:off x="2217514" y="1111453"/>
              <a:ext cx="1073553" cy="1301564"/>
            </p:xfrm>
            <a:graphic>
              <a:graphicData uri="http://schemas.microsoft.com/office/drawing/2017/model3d">
                <am3d:model3d r:embed="rId3">
                  <am3d:spPr>
                    <a:xfrm>
                      <a:off x="0" y="0"/>
                      <a:ext cx="1073553" cy="1301564"/>
                    </a:xfrm>
                    <a:prstGeom prst="rect">
                      <a:avLst/>
                    </a:prstGeom>
                  </am3d:spPr>
                  <am3d:camera>
                    <am3d:pos x="0" y="0" z="62687207"/>
                    <am3d:up dx="0" dy="36000000" dz="0"/>
                    <am3d:lookAt x="0" y="0" z="0"/>
                    <am3d:perspective fov="2700000"/>
                  </am3d:camera>
                  <am3d:trans>
                    <am3d:meterPerModelUnit n="12316103" d="1000000"/>
                    <am3d:preTrans dx="0" dy="-17483441" dz="0"/>
                    <am3d:scale>
                      <am3d:sx n="1000000" d="1000000"/>
                      <am3d:sy n="1000000" d="1000000"/>
                      <am3d:sz n="1000000" d="1000000"/>
                    </am3d:scale>
                    <am3d:rot ax="1359633" ay="1002371" az="410621"/>
                    <am3d:postTrans dx="0" dy="0" dz="0"/>
                  </am3d:trans>
                  <am3d:raster rName="Office3DRenderer" rVer="16.0.8326">
                    <am3d:blip r:embed="rId4"/>
                  </am3d:raster>
                  <am3d:objViewport viewportSz="1605579"/>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9" name="3D Model 8" descr="8">
                <a:extLst>
                  <a:ext uri="{FF2B5EF4-FFF2-40B4-BE49-F238E27FC236}">
                    <a16:creationId xmlns:a16="http://schemas.microsoft.com/office/drawing/2014/main" id="{6CC4F7B9-8AA7-912A-DF60-62B3EB1D0F0D}"/>
                  </a:ext>
                </a:extLst>
              </p:cNvPr>
              <p:cNvPicPr>
                <a:picLocks noGrp="1" noRot="1" noChangeAspect="1" noMove="1" noResize="1" noEditPoints="1" noAdjustHandles="1" noChangeArrowheads="1" noChangeShapeType="1" noCrop="1"/>
              </p:cNvPicPr>
              <p:nvPr/>
            </p:nvPicPr>
            <p:blipFill>
              <a:blip r:embed="rId4"/>
              <a:stretch>
                <a:fillRect/>
              </a:stretch>
            </p:blipFill>
            <p:spPr>
              <a:xfrm>
                <a:off x="2217514" y="1111453"/>
                <a:ext cx="1073553" cy="1301564"/>
              </a:xfrm>
              <a:prstGeom prst="rect">
                <a:avLst/>
              </a:prstGeom>
            </p:spPr>
          </p:pic>
        </mc:Fallback>
      </mc:AlternateContent>
      <p:sp>
        <p:nvSpPr>
          <p:cNvPr id="10" name="TextBox 9">
            <a:extLst>
              <a:ext uri="{FF2B5EF4-FFF2-40B4-BE49-F238E27FC236}">
                <a16:creationId xmlns:a16="http://schemas.microsoft.com/office/drawing/2014/main" id="{CB86656D-7BBD-35FD-672A-50376608DF25}"/>
              </a:ext>
            </a:extLst>
          </p:cNvPr>
          <p:cNvSpPr txBox="1"/>
          <p:nvPr/>
        </p:nvSpPr>
        <p:spPr>
          <a:xfrm>
            <a:off x="1251650" y="3233430"/>
            <a:ext cx="3021345" cy="715581"/>
          </a:xfrm>
          <a:prstGeom prst="rect">
            <a:avLst/>
          </a:prstGeom>
          <a:noFill/>
        </p:spPr>
        <p:txBody>
          <a:bodyPr wrap="square" rtlCol="0">
            <a:spAutoFit/>
          </a:bodyPr>
          <a:lstStyle/>
          <a:p>
            <a:r>
              <a:rPr lang="en-US" b="1">
                <a:solidFill>
                  <a:srgbClr val="F28C11"/>
                </a:solidFill>
              </a:rPr>
              <a:t>Biotech: Q12024 $3B</a:t>
            </a:r>
          </a:p>
          <a:p>
            <a:r>
              <a:rPr lang="en-US" b="1">
                <a:solidFill>
                  <a:srgbClr val="F28C11"/>
                </a:solidFill>
              </a:rPr>
              <a:t>Big Pharma: 18 companies laid off in June/July 2024 alone</a:t>
            </a:r>
          </a:p>
        </p:txBody>
      </p:sp>
      <p:sp>
        <p:nvSpPr>
          <p:cNvPr id="11" name="TextBox 10">
            <a:extLst>
              <a:ext uri="{FF2B5EF4-FFF2-40B4-BE49-F238E27FC236}">
                <a16:creationId xmlns:a16="http://schemas.microsoft.com/office/drawing/2014/main" id="{4777894D-9EFA-2328-7979-95F57E7327DE}"/>
              </a:ext>
            </a:extLst>
          </p:cNvPr>
          <p:cNvSpPr txBox="1"/>
          <p:nvPr/>
        </p:nvSpPr>
        <p:spPr>
          <a:xfrm>
            <a:off x="5210202" y="3000599"/>
            <a:ext cx="3076548" cy="338554"/>
          </a:xfrm>
          <a:prstGeom prst="rect">
            <a:avLst/>
          </a:prstGeom>
          <a:noFill/>
        </p:spPr>
        <p:txBody>
          <a:bodyPr wrap="none" rtlCol="0">
            <a:spAutoFit/>
          </a:bodyPr>
          <a:lstStyle/>
          <a:p>
            <a:r>
              <a:rPr lang="en-US" sz="1600" b="1">
                <a:solidFill>
                  <a:srgbClr val="F28C11"/>
                </a:solidFill>
              </a:rPr>
              <a:t>--</a:t>
            </a:r>
            <a:r>
              <a:rPr lang="en-US"/>
              <a:t> </a:t>
            </a:r>
            <a:r>
              <a:rPr lang="en-US" sz="1600"/>
              <a:t>Biotech/Small Pharma/Start up</a:t>
            </a:r>
          </a:p>
        </p:txBody>
      </p:sp>
      <p:sp>
        <p:nvSpPr>
          <p:cNvPr id="12" name="TextBox 11">
            <a:extLst>
              <a:ext uri="{FF2B5EF4-FFF2-40B4-BE49-F238E27FC236}">
                <a16:creationId xmlns:a16="http://schemas.microsoft.com/office/drawing/2014/main" id="{9AB74100-41A3-7049-F98B-8B80FF53B619}"/>
              </a:ext>
            </a:extLst>
          </p:cNvPr>
          <p:cNvSpPr txBox="1"/>
          <p:nvPr/>
        </p:nvSpPr>
        <p:spPr>
          <a:xfrm>
            <a:off x="5455109" y="2047839"/>
            <a:ext cx="2750153" cy="715581"/>
          </a:xfrm>
          <a:prstGeom prst="rect">
            <a:avLst/>
          </a:prstGeom>
          <a:noFill/>
        </p:spPr>
        <p:txBody>
          <a:bodyPr wrap="square" rtlCol="0">
            <a:spAutoFit/>
          </a:bodyPr>
          <a:lstStyle/>
          <a:p>
            <a:r>
              <a:rPr lang="en-US">
                <a:solidFill>
                  <a:srgbClr val="F28C11"/>
                </a:solidFill>
              </a:rPr>
              <a:t>Operational Reorganization</a:t>
            </a:r>
          </a:p>
          <a:p>
            <a:r>
              <a:rPr lang="en-US">
                <a:solidFill>
                  <a:srgbClr val="F28C11"/>
                </a:solidFill>
              </a:rPr>
              <a:t>Realigning Strategic Priorities</a:t>
            </a:r>
          </a:p>
          <a:p>
            <a:r>
              <a:rPr lang="en-US">
                <a:solidFill>
                  <a:srgbClr val="F28C11"/>
                </a:solidFill>
              </a:rPr>
              <a:t>Negative Results</a:t>
            </a:r>
          </a:p>
        </p:txBody>
      </p:sp>
      <p:sp>
        <p:nvSpPr>
          <p:cNvPr id="13" name="TextBox 12">
            <a:extLst>
              <a:ext uri="{FF2B5EF4-FFF2-40B4-BE49-F238E27FC236}">
                <a16:creationId xmlns:a16="http://schemas.microsoft.com/office/drawing/2014/main" id="{7A4D01BB-9B29-184C-C0FC-8D3F7742E1B9}"/>
              </a:ext>
            </a:extLst>
          </p:cNvPr>
          <p:cNvSpPr txBox="1"/>
          <p:nvPr/>
        </p:nvSpPr>
        <p:spPr>
          <a:xfrm>
            <a:off x="5455109" y="3396840"/>
            <a:ext cx="1585819" cy="507831"/>
          </a:xfrm>
          <a:prstGeom prst="rect">
            <a:avLst/>
          </a:prstGeom>
          <a:noFill/>
        </p:spPr>
        <p:txBody>
          <a:bodyPr wrap="none" rtlCol="0">
            <a:spAutoFit/>
          </a:bodyPr>
          <a:lstStyle/>
          <a:p>
            <a:r>
              <a:rPr lang="en-US">
                <a:solidFill>
                  <a:srgbClr val="F28C11"/>
                </a:solidFill>
              </a:rPr>
              <a:t>Promising products</a:t>
            </a:r>
          </a:p>
          <a:p>
            <a:r>
              <a:rPr lang="en-US">
                <a:solidFill>
                  <a:srgbClr val="F28C11"/>
                </a:solidFill>
              </a:rPr>
              <a:t>Lack of $$</a:t>
            </a:r>
          </a:p>
        </p:txBody>
      </p:sp>
    </p:spTree>
    <p:extLst>
      <p:ext uri="{BB962C8B-B14F-4D97-AF65-F5344CB8AC3E}">
        <p14:creationId xmlns:p14="http://schemas.microsoft.com/office/powerpoint/2010/main" val="29258177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0" presetClass="entr" presetSubtype="12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additive="sum">
                                        <p:cTn id="8" dur="1000" fill="hold"/>
                                        <p:tgtEl>
                                          <p:spTgt spid="9"/>
                                        </p:tgtEl>
                                        <p:attrNameLst>
                                          <p:attrName>3d.view.rotation.y</p:attrName>
                                        </p:attrNameLst>
                                      </p:cBhvr>
                                      <p:tavLst>
                                        <p:tav tm="0">
                                          <p:val>
                                            <p:fltVal val="-20"/>
                                          </p:val>
                                        </p:tav>
                                        <p:tav tm="3330">
                                          <p:val>
                                            <p:fltVal val="-19.9349"/>
                                          </p:val>
                                        </p:tav>
                                        <p:tav tm="6660">
                                          <p:val>
                                            <p:fltVal val="-19.7456"/>
                                          </p:val>
                                        </p:tav>
                                        <p:tav tm="9990">
                                          <p:val>
                                            <p:fltVal val="-19.441"/>
                                          </p:val>
                                        </p:tav>
                                        <p:tav tm="13320">
                                          <p:val>
                                            <p:fltVal val="-19.0299"/>
                                          </p:val>
                                        </p:tav>
                                        <p:tav tm="16650">
                                          <p:val>
                                            <p:fltVal val="-18.5212"/>
                                          </p:val>
                                        </p:tav>
                                        <p:tav tm="19970">
                                          <p:val>
                                            <p:fltVal val="-17.9257"/>
                                          </p:val>
                                        </p:tav>
                                        <p:tav tm="23290">
                                          <p:val>
                                            <p:fltVal val="-17.2507"/>
                                          </p:val>
                                        </p:tav>
                                        <p:tav tm="26620">
                                          <p:val>
                                            <p:fltVal val="-16.5027"/>
                                          </p:val>
                                        </p:tav>
                                        <p:tav tm="29950">
                                          <p:val>
                                            <p:fltVal val="-15.6925"/>
                                          </p:val>
                                        </p:tav>
                                        <p:tav tm="33280">
                                          <p:val>
                                            <p:fltVal val="-14.829"/>
                                          </p:val>
                                        </p:tav>
                                        <p:tav tm="36610">
                                          <p:val>
                                            <p:fltVal val="-13.9209"/>
                                          </p:val>
                                        </p:tav>
                                        <p:tav tm="39940">
                                          <p:val>
                                            <p:fltVal val="-12.9772"/>
                                          </p:val>
                                        </p:tav>
                                        <p:tav tm="43270">
                                          <p:val>
                                            <p:fltVal val="-12.0068"/>
                                          </p:val>
                                        </p:tav>
                                        <p:tav tm="46600">
                                          <p:val>
                                            <p:fltVal val="-11.0184"/>
                                          </p:val>
                                        </p:tav>
                                        <p:tav tm="49930">
                                          <p:val>
                                            <p:fltVal val="-10.0209"/>
                                          </p:val>
                                        </p:tav>
                                        <p:tav tm="53250">
                                          <p:val>
                                            <p:fltVal val="-9.0263"/>
                                          </p:val>
                                        </p:tav>
                                        <p:tav tm="56580">
                                          <p:val>
                                            <p:fltVal val="-8.0373"/>
                                          </p:val>
                                        </p:tav>
                                        <p:tav tm="59900">
                                          <p:val>
                                            <p:fltVal val="-7.0688"/>
                                          </p:val>
                                        </p:tav>
                                        <p:tav tm="63220">
                                          <p:val>
                                            <p:fltVal val="-6.1264"/>
                                          </p:val>
                                        </p:tav>
                                        <p:tav tm="66540">
                                          <p:val>
                                            <p:fltVal val="-5.2189"/>
                                          </p:val>
                                        </p:tav>
                                        <p:tav tm="69870">
                                          <p:val>
                                            <p:fltVal val="-4.3528"/>
                                          </p:val>
                                        </p:tav>
                                        <p:tav tm="73190">
                                          <p:val>
                                            <p:fltVal val="-3.5418"/>
                                          </p:val>
                                        </p:tav>
                                        <p:tav tm="76510">
                                          <p:val>
                                            <p:fltVal val="-2.7922"/>
                                          </p:val>
                                        </p:tav>
                                        <p:tav tm="79830">
                                          <p:val>
                                            <p:fltVal val="-2.1127"/>
                                          </p:val>
                                        </p:tav>
                                        <p:tav tm="83160">
                                          <p:val>
                                            <p:fltVal val="-1.5104"/>
                                          </p:val>
                                        </p:tav>
                                        <p:tav tm="86480">
                                          <p:val>
                                            <p:fltVal val="-0.9978"/>
                                          </p:val>
                                        </p:tav>
                                        <p:tav tm="89800">
                                          <p:val>
                                            <p:fltVal val="-0.5817"/>
                                          </p:val>
                                        </p:tav>
                                        <p:tav tm="93120">
                                          <p:val>
                                            <p:fltVal val="-0.2709"/>
                                          </p:val>
                                        </p:tav>
                                        <p:tav tm="96450">
                                          <p:val>
                                            <p:fltVal val="-0.0738"/>
                                          </p:val>
                                        </p:tav>
                                        <p:tav tm="100000">
                                          <p:val>
                                            <p:fltVal val="0"/>
                                          </p:val>
                                        </p:tav>
                                      </p:tavLst>
                                    </p:anim>
                                    <p:anim calcmode="lin" valueType="num">
                                      <p:cBhvr additive="mult">
                                        <p:cTn id="9" dur="1000" fill="hold"/>
                                        <p:tgtEl>
                                          <p:spTgt spid="9"/>
                                        </p:tgtEl>
                                        <p:attrNameLst>
                                          <p:attrName>3d.object.scale.x</p:attrName>
                                        </p:attrNameLst>
                                      </p:cBhvr>
                                      <p:tavLst>
                                        <p:tav tm="0">
                                          <p:val>
                                            <p:fltVal val="0.8"/>
                                          </p:val>
                                        </p:tav>
                                        <p:tav tm="3330">
                                          <p:val>
                                            <p:fltVal val="0.8104"/>
                                          </p:val>
                                        </p:tav>
                                        <p:tav tm="6660">
                                          <p:val>
                                            <p:fltVal val="0.8208"/>
                                          </p:val>
                                        </p:tav>
                                        <p:tav tm="9990">
                                          <p:val>
                                            <p:fltVal val="0.8312"/>
                                          </p:val>
                                        </p:tav>
                                        <p:tav tm="13320">
                                          <p:val>
                                            <p:fltVal val="0.8415"/>
                                          </p:val>
                                        </p:tav>
                                        <p:tav tm="16650">
                                          <p:val>
                                            <p:fltVal val="0.8517"/>
                                          </p:val>
                                        </p:tav>
                                        <p:tav tm="19970">
                                          <p:val>
                                            <p:fltVal val="0.8617"/>
                                          </p:val>
                                        </p:tav>
                                        <p:tav tm="23290">
                                          <p:val>
                                            <p:fltVal val="0.8715"/>
                                          </p:val>
                                        </p:tav>
                                        <p:tav tm="26620">
                                          <p:val>
                                            <p:fltVal val="0.8812"/>
                                          </p:val>
                                        </p:tav>
                                        <p:tav tm="29950">
                                          <p:val>
                                            <p:fltVal val="0.8906"/>
                                          </p:val>
                                        </p:tav>
                                        <p:tav tm="33280">
                                          <p:val>
                                            <p:fltVal val="0.8998"/>
                                          </p:val>
                                        </p:tav>
                                        <p:tav tm="36610">
                                          <p:val>
                                            <p:fltVal val="0.9087"/>
                                          </p:val>
                                        </p:tav>
                                        <p:tav tm="39940">
                                          <p:val>
                                            <p:fltVal val="0.9174"/>
                                          </p:val>
                                        </p:tav>
                                        <p:tav tm="43270">
                                          <p:val>
                                            <p:fltVal val="0.9257"/>
                                          </p:val>
                                        </p:tav>
                                        <p:tav tm="46600">
                                          <p:val>
                                            <p:fltVal val="0.9336"/>
                                          </p:val>
                                        </p:tav>
                                        <p:tav tm="49930">
                                          <p:val>
                                            <p:fltVal val="0.9412"/>
                                          </p:val>
                                        </p:tav>
                                        <p:tav tm="53250">
                                          <p:val>
                                            <p:fltVal val="0.9484"/>
                                          </p:val>
                                        </p:tav>
                                        <p:tav tm="56580">
                                          <p:val>
                                            <p:fltVal val="0.9552"/>
                                          </p:val>
                                        </p:tav>
                                        <p:tav tm="59900">
                                          <p:val>
                                            <p:fltVal val="0.9616"/>
                                          </p:val>
                                        </p:tav>
                                        <p:tav tm="63220">
                                          <p:val>
                                            <p:fltVal val="0.9675"/>
                                          </p:val>
                                        </p:tav>
                                        <p:tav tm="66540">
                                          <p:val>
                                            <p:fltVal val="0.973"/>
                                          </p:val>
                                        </p:tav>
                                        <p:tav tm="69870">
                                          <p:val>
                                            <p:fltVal val="0.978"/>
                                          </p:val>
                                        </p:tav>
                                        <p:tav tm="73190">
                                          <p:val>
                                            <p:fltVal val="0.9825"/>
                                          </p:val>
                                        </p:tav>
                                        <p:tav tm="76510">
                                          <p:val>
                                            <p:fltVal val="0.9865"/>
                                          </p:val>
                                        </p:tav>
                                        <p:tav tm="79830">
                                          <p:val>
                                            <p:fltVal val="0.99"/>
                                          </p:val>
                                        </p:tav>
                                        <p:tav tm="83160">
                                          <p:val>
                                            <p:fltVal val="0.993"/>
                                          </p:val>
                                        </p:tav>
                                        <p:tav tm="86480">
                                          <p:val>
                                            <p:fltVal val="0.9955"/>
                                          </p:val>
                                        </p:tav>
                                        <p:tav tm="89800">
                                          <p:val>
                                            <p:fltVal val="0.9974"/>
                                          </p:val>
                                        </p:tav>
                                        <p:tav tm="93120">
                                          <p:val>
                                            <p:fltVal val="0.9988"/>
                                          </p:val>
                                        </p:tav>
                                        <p:tav tm="96450">
                                          <p:val>
                                            <p:fltVal val="0.9996"/>
                                          </p:val>
                                        </p:tav>
                                        <p:tav tm="100000">
                                          <p:val>
                                            <p:fltVal val="1"/>
                                          </p:val>
                                        </p:tav>
                                      </p:tavLst>
                                    </p:anim>
                                    <p:anim calcmode="lin" valueType="num">
                                      <p:cBhvr additive="mult">
                                        <p:cTn id="10" dur="1000" fill="hold"/>
                                        <p:tgtEl>
                                          <p:spTgt spid="9"/>
                                        </p:tgtEl>
                                        <p:attrNameLst>
                                          <p:attrName>3d.object.scale.y</p:attrName>
                                        </p:attrNameLst>
                                      </p:cBhvr>
                                      <p:tavLst>
                                        <p:tav tm="0">
                                          <p:val>
                                            <p:fltVal val="0.8"/>
                                          </p:val>
                                        </p:tav>
                                        <p:tav tm="3330">
                                          <p:val>
                                            <p:fltVal val="0.8104"/>
                                          </p:val>
                                        </p:tav>
                                        <p:tav tm="6660">
                                          <p:val>
                                            <p:fltVal val="0.8208"/>
                                          </p:val>
                                        </p:tav>
                                        <p:tav tm="9990">
                                          <p:val>
                                            <p:fltVal val="0.8312"/>
                                          </p:val>
                                        </p:tav>
                                        <p:tav tm="13320">
                                          <p:val>
                                            <p:fltVal val="0.8415"/>
                                          </p:val>
                                        </p:tav>
                                        <p:tav tm="16650">
                                          <p:val>
                                            <p:fltVal val="0.8517"/>
                                          </p:val>
                                        </p:tav>
                                        <p:tav tm="19970">
                                          <p:val>
                                            <p:fltVal val="0.8617"/>
                                          </p:val>
                                        </p:tav>
                                        <p:tav tm="23290">
                                          <p:val>
                                            <p:fltVal val="0.8715"/>
                                          </p:val>
                                        </p:tav>
                                        <p:tav tm="26620">
                                          <p:val>
                                            <p:fltVal val="0.8812"/>
                                          </p:val>
                                        </p:tav>
                                        <p:tav tm="29950">
                                          <p:val>
                                            <p:fltVal val="0.8906"/>
                                          </p:val>
                                        </p:tav>
                                        <p:tav tm="33280">
                                          <p:val>
                                            <p:fltVal val="0.8998"/>
                                          </p:val>
                                        </p:tav>
                                        <p:tav tm="36610">
                                          <p:val>
                                            <p:fltVal val="0.9087"/>
                                          </p:val>
                                        </p:tav>
                                        <p:tav tm="39940">
                                          <p:val>
                                            <p:fltVal val="0.9174"/>
                                          </p:val>
                                        </p:tav>
                                        <p:tav tm="43270">
                                          <p:val>
                                            <p:fltVal val="0.9257"/>
                                          </p:val>
                                        </p:tav>
                                        <p:tav tm="46600">
                                          <p:val>
                                            <p:fltVal val="0.9336"/>
                                          </p:val>
                                        </p:tav>
                                        <p:tav tm="49930">
                                          <p:val>
                                            <p:fltVal val="0.9412"/>
                                          </p:val>
                                        </p:tav>
                                        <p:tav tm="53250">
                                          <p:val>
                                            <p:fltVal val="0.9484"/>
                                          </p:val>
                                        </p:tav>
                                        <p:tav tm="56580">
                                          <p:val>
                                            <p:fltVal val="0.9552"/>
                                          </p:val>
                                        </p:tav>
                                        <p:tav tm="59900">
                                          <p:val>
                                            <p:fltVal val="0.9616"/>
                                          </p:val>
                                        </p:tav>
                                        <p:tav tm="63220">
                                          <p:val>
                                            <p:fltVal val="0.9675"/>
                                          </p:val>
                                        </p:tav>
                                        <p:tav tm="66540">
                                          <p:val>
                                            <p:fltVal val="0.973"/>
                                          </p:val>
                                        </p:tav>
                                        <p:tav tm="69870">
                                          <p:val>
                                            <p:fltVal val="0.978"/>
                                          </p:val>
                                        </p:tav>
                                        <p:tav tm="73190">
                                          <p:val>
                                            <p:fltVal val="0.9825"/>
                                          </p:val>
                                        </p:tav>
                                        <p:tav tm="76510">
                                          <p:val>
                                            <p:fltVal val="0.9865"/>
                                          </p:val>
                                        </p:tav>
                                        <p:tav tm="79830">
                                          <p:val>
                                            <p:fltVal val="0.99"/>
                                          </p:val>
                                        </p:tav>
                                        <p:tav tm="83160">
                                          <p:val>
                                            <p:fltVal val="0.993"/>
                                          </p:val>
                                        </p:tav>
                                        <p:tav tm="86480">
                                          <p:val>
                                            <p:fltVal val="0.9955"/>
                                          </p:val>
                                        </p:tav>
                                        <p:tav tm="89800">
                                          <p:val>
                                            <p:fltVal val="0.9974"/>
                                          </p:val>
                                        </p:tav>
                                        <p:tav tm="93120">
                                          <p:val>
                                            <p:fltVal val="0.9988"/>
                                          </p:val>
                                        </p:tav>
                                        <p:tav tm="96450">
                                          <p:val>
                                            <p:fltVal val="0.9996"/>
                                          </p:val>
                                        </p:tav>
                                        <p:tav tm="100000">
                                          <p:val>
                                            <p:fltVal val="1"/>
                                          </p:val>
                                        </p:tav>
                                      </p:tavLst>
                                    </p:anim>
                                    <p:anim calcmode="lin" valueType="num">
                                      <p:cBhvr additive="mult">
                                        <p:cTn id="11" dur="1000" fill="hold"/>
                                        <p:tgtEl>
                                          <p:spTgt spid="9"/>
                                        </p:tgtEl>
                                        <p:attrNameLst>
                                          <p:attrName>3d.object.scale.z</p:attrName>
                                        </p:attrNameLst>
                                      </p:cBhvr>
                                      <p:tavLst>
                                        <p:tav tm="0">
                                          <p:val>
                                            <p:fltVal val="0.8"/>
                                          </p:val>
                                        </p:tav>
                                        <p:tav tm="3330">
                                          <p:val>
                                            <p:fltVal val="0.8104"/>
                                          </p:val>
                                        </p:tav>
                                        <p:tav tm="6660">
                                          <p:val>
                                            <p:fltVal val="0.8208"/>
                                          </p:val>
                                        </p:tav>
                                        <p:tav tm="9990">
                                          <p:val>
                                            <p:fltVal val="0.8312"/>
                                          </p:val>
                                        </p:tav>
                                        <p:tav tm="13320">
                                          <p:val>
                                            <p:fltVal val="0.8415"/>
                                          </p:val>
                                        </p:tav>
                                        <p:tav tm="16650">
                                          <p:val>
                                            <p:fltVal val="0.8517"/>
                                          </p:val>
                                        </p:tav>
                                        <p:tav tm="19970">
                                          <p:val>
                                            <p:fltVal val="0.8617"/>
                                          </p:val>
                                        </p:tav>
                                        <p:tav tm="23290">
                                          <p:val>
                                            <p:fltVal val="0.8715"/>
                                          </p:val>
                                        </p:tav>
                                        <p:tav tm="26620">
                                          <p:val>
                                            <p:fltVal val="0.8812"/>
                                          </p:val>
                                        </p:tav>
                                        <p:tav tm="29950">
                                          <p:val>
                                            <p:fltVal val="0.8906"/>
                                          </p:val>
                                        </p:tav>
                                        <p:tav tm="33280">
                                          <p:val>
                                            <p:fltVal val="0.8998"/>
                                          </p:val>
                                        </p:tav>
                                        <p:tav tm="36610">
                                          <p:val>
                                            <p:fltVal val="0.9087"/>
                                          </p:val>
                                        </p:tav>
                                        <p:tav tm="39940">
                                          <p:val>
                                            <p:fltVal val="0.9174"/>
                                          </p:val>
                                        </p:tav>
                                        <p:tav tm="43270">
                                          <p:val>
                                            <p:fltVal val="0.9257"/>
                                          </p:val>
                                        </p:tav>
                                        <p:tav tm="46600">
                                          <p:val>
                                            <p:fltVal val="0.9336"/>
                                          </p:val>
                                        </p:tav>
                                        <p:tav tm="49930">
                                          <p:val>
                                            <p:fltVal val="0.9412"/>
                                          </p:val>
                                        </p:tav>
                                        <p:tav tm="53250">
                                          <p:val>
                                            <p:fltVal val="0.9484"/>
                                          </p:val>
                                        </p:tav>
                                        <p:tav tm="56580">
                                          <p:val>
                                            <p:fltVal val="0.9552"/>
                                          </p:val>
                                        </p:tav>
                                        <p:tav tm="59900">
                                          <p:val>
                                            <p:fltVal val="0.9616"/>
                                          </p:val>
                                        </p:tav>
                                        <p:tav tm="63220">
                                          <p:val>
                                            <p:fltVal val="0.9675"/>
                                          </p:val>
                                        </p:tav>
                                        <p:tav tm="66540">
                                          <p:val>
                                            <p:fltVal val="0.973"/>
                                          </p:val>
                                        </p:tav>
                                        <p:tav tm="69870">
                                          <p:val>
                                            <p:fltVal val="0.978"/>
                                          </p:val>
                                        </p:tav>
                                        <p:tav tm="73190">
                                          <p:val>
                                            <p:fltVal val="0.9825"/>
                                          </p:val>
                                        </p:tav>
                                        <p:tav tm="76510">
                                          <p:val>
                                            <p:fltVal val="0.9865"/>
                                          </p:val>
                                        </p:tav>
                                        <p:tav tm="79830">
                                          <p:val>
                                            <p:fltVal val="0.99"/>
                                          </p:val>
                                        </p:tav>
                                        <p:tav tm="83160">
                                          <p:val>
                                            <p:fltVal val="0.993"/>
                                          </p:val>
                                        </p:tav>
                                        <p:tav tm="86480">
                                          <p:val>
                                            <p:fltVal val="0.9955"/>
                                          </p:val>
                                        </p:tav>
                                        <p:tav tm="89800">
                                          <p:val>
                                            <p:fltVal val="0.9974"/>
                                          </p:val>
                                        </p:tav>
                                        <p:tav tm="93120">
                                          <p:val>
                                            <p:fltVal val="0.9988"/>
                                          </p:val>
                                        </p:tav>
                                        <p:tav tm="96450">
                                          <p:val>
                                            <p:fltVal val="0.9996"/>
                                          </p:val>
                                        </p:tav>
                                        <p:tav tm="100000">
                                          <p:val>
                                            <p:fltVal val="1"/>
                                          </p:val>
                                        </p:tav>
                                      </p:tavLst>
                                    </p:anim>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10"/>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12"/>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13"/>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2" presetClass="entr" presetSubtype="4" fill="hold" grpId="0" nodeType="clickEffect">
                                  <p:stCondLst>
                                    <p:cond delay="0"/>
                                  </p:stCondLst>
                                  <p:childTnLst>
                                    <p:set>
                                      <p:cBhvr>
                                        <p:cTn id="27" dur="1" fill="hold">
                                          <p:stCondLst>
                                            <p:cond delay="0"/>
                                          </p:stCondLst>
                                        </p:cTn>
                                        <p:tgtEl>
                                          <p:spTgt spid="8"/>
                                        </p:tgtEl>
                                        <p:attrNameLst>
                                          <p:attrName>style.visibility</p:attrName>
                                        </p:attrNameLst>
                                      </p:cBhvr>
                                      <p:to>
                                        <p:strVal val="visible"/>
                                      </p:to>
                                    </p:set>
                                    <p:anim calcmode="lin" valueType="num">
                                      <p:cBhvr additive="base">
                                        <p:cTn id="28" dur="500" fill="hold"/>
                                        <p:tgtEl>
                                          <p:spTgt spid="8"/>
                                        </p:tgtEl>
                                        <p:attrNameLst>
                                          <p:attrName>ppt_x</p:attrName>
                                        </p:attrNameLst>
                                      </p:cBhvr>
                                      <p:tavLst>
                                        <p:tav tm="0">
                                          <p:val>
                                            <p:strVal val="#ppt_x"/>
                                          </p:val>
                                        </p:tav>
                                        <p:tav tm="100000">
                                          <p:val>
                                            <p:strVal val="#ppt_x"/>
                                          </p:val>
                                        </p:tav>
                                      </p:tavLst>
                                    </p:anim>
                                    <p:anim calcmode="lin" valueType="num">
                                      <p:cBhvr additive="base">
                                        <p:cTn id="29"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P spid="12" grpId="0"/>
      <p:bldP spid="1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64D9EED-58A2-F492-9765-F66D504CDD50}"/>
              </a:ext>
            </a:extLst>
          </p:cNvPr>
          <p:cNvSpPr>
            <a:spLocks noGrp="1"/>
          </p:cNvSpPr>
          <p:nvPr>
            <p:ph type="title"/>
          </p:nvPr>
        </p:nvSpPr>
        <p:spPr/>
        <p:txBody>
          <a:bodyPr/>
          <a:lstStyle/>
          <a:p>
            <a:r>
              <a:rPr lang="en-US">
                <a:solidFill>
                  <a:srgbClr val="0070C0"/>
                </a:solidFill>
              </a:rPr>
              <a:t>Retention Issues</a:t>
            </a:r>
          </a:p>
        </p:txBody>
      </p:sp>
      <p:sp>
        <p:nvSpPr>
          <p:cNvPr id="6" name="Content Placeholder 5">
            <a:extLst>
              <a:ext uri="{FF2B5EF4-FFF2-40B4-BE49-F238E27FC236}">
                <a16:creationId xmlns:a16="http://schemas.microsoft.com/office/drawing/2014/main" id="{03C6B752-2F93-14CB-E970-CF303DAE9425}"/>
              </a:ext>
            </a:extLst>
          </p:cNvPr>
          <p:cNvSpPr>
            <a:spLocks noGrp="1"/>
          </p:cNvSpPr>
          <p:nvPr>
            <p:ph sz="half" idx="1"/>
          </p:nvPr>
        </p:nvSpPr>
        <p:spPr>
          <a:xfrm>
            <a:off x="2079147" y="1423124"/>
            <a:ext cx="1958777" cy="524317"/>
          </a:xfrm>
        </p:spPr>
        <p:txBody>
          <a:bodyPr/>
          <a:lstStyle/>
          <a:p>
            <a:pPr marL="0" indent="0" algn="ctr">
              <a:buNone/>
            </a:pPr>
            <a:r>
              <a:rPr lang="en-US"/>
              <a:t>Toxic Culture</a:t>
            </a:r>
          </a:p>
        </p:txBody>
      </p:sp>
      <p:sp>
        <p:nvSpPr>
          <p:cNvPr id="4" name="Slide Number Placeholder 3">
            <a:extLst>
              <a:ext uri="{FF2B5EF4-FFF2-40B4-BE49-F238E27FC236}">
                <a16:creationId xmlns:a16="http://schemas.microsoft.com/office/drawing/2014/main" id="{28A7B97B-345C-9905-2F8C-CB4526E6276F}"/>
              </a:ext>
            </a:extLst>
          </p:cNvPr>
          <p:cNvSpPr>
            <a:spLocks noGrp="1"/>
          </p:cNvSpPr>
          <p:nvPr>
            <p:ph type="sldNum" sz="quarter" idx="10"/>
          </p:nvPr>
        </p:nvSpPr>
        <p:spPr/>
        <p:txBody>
          <a:bodyPr/>
          <a:lstStyle/>
          <a:p>
            <a:fld id="{42AD0A0E-4515-A647-B2E3-7F1B29FB990E}" type="slidenum">
              <a:rPr lang="en-US" smtClean="0"/>
              <a:pPr/>
              <a:t>12</a:t>
            </a:fld>
            <a:endParaRPr lang="en-US"/>
          </a:p>
        </p:txBody>
      </p:sp>
      <p:sp>
        <p:nvSpPr>
          <p:cNvPr id="3" name="Content Placeholder 5">
            <a:extLst>
              <a:ext uri="{FF2B5EF4-FFF2-40B4-BE49-F238E27FC236}">
                <a16:creationId xmlns:a16="http://schemas.microsoft.com/office/drawing/2014/main" id="{70B6D877-9C78-EECE-D69E-4C3BCD9A4061}"/>
              </a:ext>
            </a:extLst>
          </p:cNvPr>
          <p:cNvSpPr txBox="1">
            <a:spLocks/>
          </p:cNvSpPr>
          <p:nvPr/>
        </p:nvSpPr>
        <p:spPr>
          <a:xfrm>
            <a:off x="572126" y="2137169"/>
            <a:ext cx="2307529" cy="642107"/>
          </a:xfrm>
          <a:prstGeom prst="rect">
            <a:avLst/>
          </a:prstGeom>
        </p:spPr>
        <p:txBody>
          <a:bodyPr vert="horz" lIns="91440" tIns="45720" rIns="91440" bIns="45720" rtlCol="0">
            <a:normAutofit/>
          </a:bodyPr>
          <a:lst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mn-lt"/>
                <a:ea typeface="+mn-ea"/>
                <a:cs typeface="+mn-cs"/>
              </a:defRPr>
            </a:lvl1pPr>
            <a:lvl2pPr marL="527050" indent="-171450" algn="l" defTabSz="685800"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mn-lt"/>
                <a:ea typeface="+mn-ea"/>
                <a:cs typeface="+mn-cs"/>
              </a:defRPr>
            </a:lvl2pPr>
            <a:lvl3pPr marL="755650" indent="-114300" algn="l" defTabSz="685800" rtl="0" eaLnBrk="1" latinLnBrk="0" hangingPunct="1">
              <a:lnSpc>
                <a:spcPct val="90000"/>
              </a:lnSpc>
              <a:spcBef>
                <a:spcPts val="375"/>
              </a:spcBef>
              <a:buClr>
                <a:srgbClr val="F28C11"/>
              </a:buClr>
              <a:buFont typeface="Wingdings" charset="2"/>
              <a:buChar char="§"/>
              <a:tabLst/>
              <a:defRPr sz="1400" kern="1200">
                <a:solidFill>
                  <a:schemeClr val="tx1"/>
                </a:solidFill>
                <a:latin typeface="+mn-lt"/>
                <a:ea typeface="+mn-ea"/>
                <a:cs typeface="+mn-cs"/>
              </a:defRPr>
            </a:lvl3pPr>
            <a:lvl4pPr marL="984250" indent="-114300" algn="l" defTabSz="685800"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mn-lt"/>
                <a:ea typeface="+mn-ea"/>
                <a:cs typeface="+mn-cs"/>
              </a:defRPr>
            </a:lvl4pPr>
            <a:lvl5pPr marL="1270000" indent="-171450" algn="l" defTabSz="685800" rtl="0" eaLnBrk="1" latinLnBrk="0" hangingPunct="1">
              <a:lnSpc>
                <a:spcPct val="90000"/>
              </a:lnSpc>
              <a:spcBef>
                <a:spcPts val="375"/>
              </a:spcBef>
              <a:buClr>
                <a:srgbClr val="F28C11"/>
              </a:buClr>
              <a:buFont typeface="Courier New" charset="0"/>
              <a:buChar char="o"/>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Font typeface="Arial" panose="020B0604020202020204" pitchFamily="34" charset="0"/>
              <a:buNone/>
            </a:pPr>
            <a:r>
              <a:rPr lang="en-US"/>
              <a:t>Workload / Work-Life Balance</a:t>
            </a:r>
          </a:p>
        </p:txBody>
      </p:sp>
      <p:sp>
        <p:nvSpPr>
          <p:cNvPr id="8" name="Content Placeholder 5">
            <a:extLst>
              <a:ext uri="{FF2B5EF4-FFF2-40B4-BE49-F238E27FC236}">
                <a16:creationId xmlns:a16="http://schemas.microsoft.com/office/drawing/2014/main" id="{366AA092-B064-075F-84A9-B57EF8A720AC}"/>
              </a:ext>
            </a:extLst>
          </p:cNvPr>
          <p:cNvSpPr txBox="1">
            <a:spLocks/>
          </p:cNvSpPr>
          <p:nvPr/>
        </p:nvSpPr>
        <p:spPr>
          <a:xfrm>
            <a:off x="6012382" y="2348355"/>
            <a:ext cx="2307529" cy="642107"/>
          </a:xfrm>
          <a:prstGeom prst="rect">
            <a:avLst/>
          </a:prstGeom>
        </p:spPr>
        <p:txBody>
          <a:bodyPr vert="horz" lIns="91440" tIns="45720" rIns="91440" bIns="45720" rtlCol="0">
            <a:normAutofit/>
          </a:bodyPr>
          <a:lst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mn-lt"/>
                <a:ea typeface="+mn-ea"/>
                <a:cs typeface="+mn-cs"/>
              </a:defRPr>
            </a:lvl1pPr>
            <a:lvl2pPr marL="527050" indent="-171450" algn="l" defTabSz="685800"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mn-lt"/>
                <a:ea typeface="+mn-ea"/>
                <a:cs typeface="+mn-cs"/>
              </a:defRPr>
            </a:lvl2pPr>
            <a:lvl3pPr marL="755650" indent="-114300" algn="l" defTabSz="685800" rtl="0" eaLnBrk="1" latinLnBrk="0" hangingPunct="1">
              <a:lnSpc>
                <a:spcPct val="90000"/>
              </a:lnSpc>
              <a:spcBef>
                <a:spcPts val="375"/>
              </a:spcBef>
              <a:buClr>
                <a:srgbClr val="F28C11"/>
              </a:buClr>
              <a:buFont typeface="Wingdings" charset="2"/>
              <a:buChar char="§"/>
              <a:tabLst/>
              <a:defRPr sz="1400" kern="1200">
                <a:solidFill>
                  <a:schemeClr val="tx1"/>
                </a:solidFill>
                <a:latin typeface="+mn-lt"/>
                <a:ea typeface="+mn-ea"/>
                <a:cs typeface="+mn-cs"/>
              </a:defRPr>
            </a:lvl3pPr>
            <a:lvl4pPr marL="984250" indent="-114300" algn="l" defTabSz="685800"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mn-lt"/>
                <a:ea typeface="+mn-ea"/>
                <a:cs typeface="+mn-cs"/>
              </a:defRPr>
            </a:lvl4pPr>
            <a:lvl5pPr marL="1270000" indent="-171450" algn="l" defTabSz="685800" rtl="0" eaLnBrk="1" latinLnBrk="0" hangingPunct="1">
              <a:lnSpc>
                <a:spcPct val="90000"/>
              </a:lnSpc>
              <a:spcBef>
                <a:spcPts val="375"/>
              </a:spcBef>
              <a:buClr>
                <a:srgbClr val="F28C11"/>
              </a:buClr>
              <a:buFont typeface="Courier New" charset="0"/>
              <a:buChar char="o"/>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Font typeface="Arial" panose="020B0604020202020204" pitchFamily="34" charset="0"/>
              <a:buNone/>
            </a:pPr>
            <a:r>
              <a:rPr lang="en-US"/>
              <a:t>Compensation</a:t>
            </a:r>
          </a:p>
        </p:txBody>
      </p:sp>
      <p:sp>
        <p:nvSpPr>
          <p:cNvPr id="9" name="Content Placeholder 5">
            <a:extLst>
              <a:ext uri="{FF2B5EF4-FFF2-40B4-BE49-F238E27FC236}">
                <a16:creationId xmlns:a16="http://schemas.microsoft.com/office/drawing/2014/main" id="{4C4B714F-7942-C984-ED86-AA719E62F08B}"/>
              </a:ext>
            </a:extLst>
          </p:cNvPr>
          <p:cNvSpPr txBox="1">
            <a:spLocks/>
          </p:cNvSpPr>
          <p:nvPr/>
        </p:nvSpPr>
        <p:spPr>
          <a:xfrm>
            <a:off x="736290" y="3404215"/>
            <a:ext cx="2685713" cy="741715"/>
          </a:xfrm>
          <a:prstGeom prst="rect">
            <a:avLst/>
          </a:prstGeom>
        </p:spPr>
        <p:txBody>
          <a:bodyPr vert="horz" lIns="91440" tIns="45720" rIns="91440" bIns="45720" rtlCol="0">
            <a:normAutofit/>
          </a:bodyPr>
          <a:lst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mn-lt"/>
                <a:ea typeface="+mn-ea"/>
                <a:cs typeface="+mn-cs"/>
              </a:defRPr>
            </a:lvl1pPr>
            <a:lvl2pPr marL="527050" indent="-171450" algn="l" defTabSz="685800"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mn-lt"/>
                <a:ea typeface="+mn-ea"/>
                <a:cs typeface="+mn-cs"/>
              </a:defRPr>
            </a:lvl2pPr>
            <a:lvl3pPr marL="755650" indent="-114300" algn="l" defTabSz="685800" rtl="0" eaLnBrk="1" latinLnBrk="0" hangingPunct="1">
              <a:lnSpc>
                <a:spcPct val="90000"/>
              </a:lnSpc>
              <a:spcBef>
                <a:spcPts val="375"/>
              </a:spcBef>
              <a:buClr>
                <a:srgbClr val="F28C11"/>
              </a:buClr>
              <a:buFont typeface="Wingdings" charset="2"/>
              <a:buChar char="§"/>
              <a:tabLst/>
              <a:defRPr sz="1400" kern="1200">
                <a:solidFill>
                  <a:schemeClr val="tx1"/>
                </a:solidFill>
                <a:latin typeface="+mn-lt"/>
                <a:ea typeface="+mn-ea"/>
                <a:cs typeface="+mn-cs"/>
              </a:defRPr>
            </a:lvl3pPr>
            <a:lvl4pPr marL="984250" indent="-114300" algn="l" defTabSz="685800"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mn-lt"/>
                <a:ea typeface="+mn-ea"/>
                <a:cs typeface="+mn-cs"/>
              </a:defRPr>
            </a:lvl4pPr>
            <a:lvl5pPr marL="1270000" indent="-171450" algn="l" defTabSz="685800" rtl="0" eaLnBrk="1" latinLnBrk="0" hangingPunct="1">
              <a:lnSpc>
                <a:spcPct val="90000"/>
              </a:lnSpc>
              <a:spcBef>
                <a:spcPts val="375"/>
              </a:spcBef>
              <a:buClr>
                <a:srgbClr val="F28C11"/>
              </a:buClr>
              <a:buFont typeface="Courier New" charset="0"/>
              <a:buChar char="o"/>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Font typeface="Arial" panose="020B0604020202020204" pitchFamily="34" charset="0"/>
              <a:buNone/>
            </a:pPr>
            <a:r>
              <a:rPr lang="en-US"/>
              <a:t>Lack of Advancement Opportunities</a:t>
            </a:r>
          </a:p>
        </p:txBody>
      </p:sp>
      <p:sp>
        <p:nvSpPr>
          <p:cNvPr id="10" name="Content Placeholder 5">
            <a:extLst>
              <a:ext uri="{FF2B5EF4-FFF2-40B4-BE49-F238E27FC236}">
                <a16:creationId xmlns:a16="http://schemas.microsoft.com/office/drawing/2014/main" id="{B87132EE-74B0-F46B-20B5-E444B31877A4}"/>
              </a:ext>
            </a:extLst>
          </p:cNvPr>
          <p:cNvSpPr txBox="1">
            <a:spLocks/>
          </p:cNvSpPr>
          <p:nvPr/>
        </p:nvSpPr>
        <p:spPr>
          <a:xfrm>
            <a:off x="4037924" y="3883772"/>
            <a:ext cx="1958777" cy="524317"/>
          </a:xfrm>
          <a:prstGeom prst="rect">
            <a:avLst/>
          </a:prstGeom>
        </p:spPr>
        <p:txBody>
          <a:bodyPr vert="horz" lIns="91440" tIns="45720" rIns="91440" bIns="45720" rtlCol="0">
            <a:normAutofit fontScale="92500" lnSpcReduction="20000"/>
          </a:bodyPr>
          <a:lst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mn-lt"/>
                <a:ea typeface="+mn-ea"/>
                <a:cs typeface="+mn-cs"/>
              </a:defRPr>
            </a:lvl1pPr>
            <a:lvl2pPr marL="527050" indent="-171450" algn="l" defTabSz="685800"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mn-lt"/>
                <a:ea typeface="+mn-ea"/>
                <a:cs typeface="+mn-cs"/>
              </a:defRPr>
            </a:lvl2pPr>
            <a:lvl3pPr marL="755650" indent="-114300" algn="l" defTabSz="685800" rtl="0" eaLnBrk="1" latinLnBrk="0" hangingPunct="1">
              <a:lnSpc>
                <a:spcPct val="90000"/>
              </a:lnSpc>
              <a:spcBef>
                <a:spcPts val="375"/>
              </a:spcBef>
              <a:buClr>
                <a:srgbClr val="F28C11"/>
              </a:buClr>
              <a:buFont typeface="Wingdings" charset="2"/>
              <a:buChar char="§"/>
              <a:tabLst/>
              <a:defRPr sz="1400" kern="1200">
                <a:solidFill>
                  <a:schemeClr val="tx1"/>
                </a:solidFill>
                <a:latin typeface="+mn-lt"/>
                <a:ea typeface="+mn-ea"/>
                <a:cs typeface="+mn-cs"/>
              </a:defRPr>
            </a:lvl3pPr>
            <a:lvl4pPr marL="984250" indent="-114300" algn="l" defTabSz="685800"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mn-lt"/>
                <a:ea typeface="+mn-ea"/>
                <a:cs typeface="+mn-cs"/>
              </a:defRPr>
            </a:lvl4pPr>
            <a:lvl5pPr marL="1270000" indent="-171450" algn="l" defTabSz="685800" rtl="0" eaLnBrk="1" latinLnBrk="0" hangingPunct="1">
              <a:lnSpc>
                <a:spcPct val="90000"/>
              </a:lnSpc>
              <a:spcBef>
                <a:spcPts val="375"/>
              </a:spcBef>
              <a:buClr>
                <a:srgbClr val="F28C11"/>
              </a:buClr>
              <a:buFont typeface="Courier New" charset="0"/>
              <a:buChar char="o"/>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Font typeface="Arial" panose="020B0604020202020204" pitchFamily="34" charset="0"/>
              <a:buNone/>
            </a:pPr>
            <a:r>
              <a:rPr lang="en-US"/>
              <a:t>Sense of Purpose</a:t>
            </a:r>
          </a:p>
        </p:txBody>
      </p:sp>
      <p:sp>
        <p:nvSpPr>
          <p:cNvPr id="11" name="Content Placeholder 5">
            <a:extLst>
              <a:ext uri="{FF2B5EF4-FFF2-40B4-BE49-F238E27FC236}">
                <a16:creationId xmlns:a16="http://schemas.microsoft.com/office/drawing/2014/main" id="{086890FA-932A-33AE-1FA3-F92375E6FF97}"/>
              </a:ext>
            </a:extLst>
          </p:cNvPr>
          <p:cNvSpPr txBox="1">
            <a:spLocks/>
          </p:cNvSpPr>
          <p:nvPr/>
        </p:nvSpPr>
        <p:spPr>
          <a:xfrm>
            <a:off x="4766604" y="1236178"/>
            <a:ext cx="2873177" cy="642107"/>
          </a:xfrm>
          <a:prstGeom prst="rect">
            <a:avLst/>
          </a:prstGeom>
        </p:spPr>
        <p:txBody>
          <a:bodyPr vert="horz" lIns="91440" tIns="45720" rIns="91440" bIns="45720" rtlCol="0">
            <a:normAutofit/>
          </a:bodyPr>
          <a:lst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mn-lt"/>
                <a:ea typeface="+mn-ea"/>
                <a:cs typeface="+mn-cs"/>
              </a:defRPr>
            </a:lvl1pPr>
            <a:lvl2pPr marL="527050" indent="-171450" algn="l" defTabSz="685800"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mn-lt"/>
                <a:ea typeface="+mn-ea"/>
                <a:cs typeface="+mn-cs"/>
              </a:defRPr>
            </a:lvl2pPr>
            <a:lvl3pPr marL="755650" indent="-114300" algn="l" defTabSz="685800" rtl="0" eaLnBrk="1" latinLnBrk="0" hangingPunct="1">
              <a:lnSpc>
                <a:spcPct val="90000"/>
              </a:lnSpc>
              <a:spcBef>
                <a:spcPts val="375"/>
              </a:spcBef>
              <a:buClr>
                <a:srgbClr val="F28C11"/>
              </a:buClr>
              <a:buFont typeface="Wingdings" charset="2"/>
              <a:buChar char="§"/>
              <a:tabLst/>
              <a:defRPr sz="1400" kern="1200">
                <a:solidFill>
                  <a:schemeClr val="tx1"/>
                </a:solidFill>
                <a:latin typeface="+mn-lt"/>
                <a:ea typeface="+mn-ea"/>
                <a:cs typeface="+mn-cs"/>
              </a:defRPr>
            </a:lvl3pPr>
            <a:lvl4pPr marL="984250" indent="-114300" algn="l" defTabSz="685800"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mn-lt"/>
                <a:ea typeface="+mn-ea"/>
                <a:cs typeface="+mn-cs"/>
              </a:defRPr>
            </a:lvl4pPr>
            <a:lvl5pPr marL="1270000" indent="-171450" algn="l" defTabSz="685800" rtl="0" eaLnBrk="1" latinLnBrk="0" hangingPunct="1">
              <a:lnSpc>
                <a:spcPct val="90000"/>
              </a:lnSpc>
              <a:spcBef>
                <a:spcPts val="375"/>
              </a:spcBef>
              <a:buClr>
                <a:srgbClr val="F28C11"/>
              </a:buClr>
              <a:buFont typeface="Courier New" charset="0"/>
              <a:buChar char="o"/>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Font typeface="Arial" panose="020B0604020202020204" pitchFamily="34" charset="0"/>
              <a:buNone/>
            </a:pPr>
            <a:r>
              <a:rPr lang="en-US"/>
              <a:t>Poor Management / Ineffective Leadership</a:t>
            </a:r>
          </a:p>
        </p:txBody>
      </p:sp>
      <p:sp>
        <p:nvSpPr>
          <p:cNvPr id="12" name="Oval 11">
            <a:extLst>
              <a:ext uri="{FF2B5EF4-FFF2-40B4-BE49-F238E27FC236}">
                <a16:creationId xmlns:a16="http://schemas.microsoft.com/office/drawing/2014/main" id="{21515C40-1E09-53CB-33D9-4B9C2A5FF666}"/>
              </a:ext>
            </a:extLst>
          </p:cNvPr>
          <p:cNvSpPr/>
          <p:nvPr/>
        </p:nvSpPr>
        <p:spPr>
          <a:xfrm>
            <a:off x="3196354" y="1979998"/>
            <a:ext cx="2685713" cy="155928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000" b="1"/>
              <a:t>I Quit</a:t>
            </a:r>
          </a:p>
        </p:txBody>
      </p:sp>
      <p:sp>
        <p:nvSpPr>
          <p:cNvPr id="13" name="Content Placeholder 5">
            <a:extLst>
              <a:ext uri="{FF2B5EF4-FFF2-40B4-BE49-F238E27FC236}">
                <a16:creationId xmlns:a16="http://schemas.microsoft.com/office/drawing/2014/main" id="{6971C050-D4AB-3A4C-7DDF-358BF9C28973}"/>
              </a:ext>
            </a:extLst>
          </p:cNvPr>
          <p:cNvSpPr txBox="1">
            <a:spLocks/>
          </p:cNvSpPr>
          <p:nvPr/>
        </p:nvSpPr>
        <p:spPr>
          <a:xfrm>
            <a:off x="6025168" y="3278908"/>
            <a:ext cx="1958777" cy="524317"/>
          </a:xfrm>
          <a:prstGeom prst="rect">
            <a:avLst/>
          </a:prstGeom>
        </p:spPr>
        <p:txBody>
          <a:bodyPr vert="horz" lIns="91440" tIns="45720" rIns="91440" bIns="45720" rtlCol="0">
            <a:normAutofit fontScale="92500" lnSpcReduction="20000"/>
          </a:bodyPr>
          <a:lst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mn-lt"/>
                <a:ea typeface="+mn-ea"/>
                <a:cs typeface="+mn-cs"/>
              </a:defRPr>
            </a:lvl1pPr>
            <a:lvl2pPr marL="527050" indent="-171450" algn="l" defTabSz="685800"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mn-lt"/>
                <a:ea typeface="+mn-ea"/>
                <a:cs typeface="+mn-cs"/>
              </a:defRPr>
            </a:lvl2pPr>
            <a:lvl3pPr marL="755650" indent="-114300" algn="l" defTabSz="685800" rtl="0" eaLnBrk="1" latinLnBrk="0" hangingPunct="1">
              <a:lnSpc>
                <a:spcPct val="90000"/>
              </a:lnSpc>
              <a:spcBef>
                <a:spcPts val="375"/>
              </a:spcBef>
              <a:buClr>
                <a:srgbClr val="F28C11"/>
              </a:buClr>
              <a:buFont typeface="Wingdings" charset="2"/>
              <a:buChar char="§"/>
              <a:tabLst/>
              <a:defRPr sz="1400" kern="1200">
                <a:solidFill>
                  <a:schemeClr val="tx1"/>
                </a:solidFill>
                <a:latin typeface="+mn-lt"/>
                <a:ea typeface="+mn-ea"/>
                <a:cs typeface="+mn-cs"/>
              </a:defRPr>
            </a:lvl3pPr>
            <a:lvl4pPr marL="984250" indent="-114300" algn="l" defTabSz="685800"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mn-lt"/>
                <a:ea typeface="+mn-ea"/>
                <a:cs typeface="+mn-cs"/>
              </a:defRPr>
            </a:lvl4pPr>
            <a:lvl5pPr marL="1270000" indent="-171450" algn="l" defTabSz="685800" rtl="0" eaLnBrk="1" latinLnBrk="0" hangingPunct="1">
              <a:lnSpc>
                <a:spcPct val="90000"/>
              </a:lnSpc>
              <a:spcBef>
                <a:spcPts val="375"/>
              </a:spcBef>
              <a:buClr>
                <a:srgbClr val="F28C11"/>
              </a:buClr>
              <a:buFont typeface="Courier New" charset="0"/>
              <a:buChar char="o"/>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Font typeface="Arial" panose="020B0604020202020204" pitchFamily="34" charset="0"/>
              <a:buNone/>
            </a:pPr>
            <a:r>
              <a:rPr lang="en-US"/>
              <a:t>Other Factors (geography, etc.)</a:t>
            </a:r>
          </a:p>
        </p:txBody>
      </p:sp>
      <p:pic>
        <p:nvPicPr>
          <p:cNvPr id="14" name="222311-f0d65378-08dd-4167-ac63-ca785de910e6">
            <a:hlinkClick r:id="" action="ppaction://media"/>
            <a:extLst>
              <a:ext uri="{FF2B5EF4-FFF2-40B4-BE49-F238E27FC236}">
                <a16:creationId xmlns:a16="http://schemas.microsoft.com/office/drawing/2014/main" id="{C2ED0CC7-667D-EEC7-F8CA-C9B288C86219}"/>
              </a:ext>
            </a:extLst>
          </p:cNvPr>
          <p:cNvPicPr>
            <a:picLocks noChangeAspect="1"/>
          </p:cNvPicPr>
          <p:nvPr>
            <a:audioFile r:link="rId1"/>
            <p:extLst>
              <p:ext uri="{DAA4B4D4-6D71-4841-9C94-3DE7FCFB9230}">
                <p14:media xmlns:p14="http://schemas.microsoft.com/office/powerpoint/2010/main" r:embed="rId2">
                  <p14:trim st="18330" end="253722.6917"/>
                </p14:media>
              </p:ext>
            </p:extLst>
          </p:nvPr>
        </p:nvPicPr>
        <p:blipFill>
          <a:blip r:embed="rId5"/>
          <a:stretch>
            <a:fillRect/>
          </a:stretch>
        </p:blipFill>
        <p:spPr>
          <a:xfrm>
            <a:off x="89468" y="4948955"/>
            <a:ext cx="271463" cy="271463"/>
          </a:xfrm>
          <a:prstGeom prst="rect">
            <a:avLst/>
          </a:prstGeom>
        </p:spPr>
      </p:pic>
    </p:spTree>
    <p:extLst>
      <p:ext uri="{BB962C8B-B14F-4D97-AF65-F5344CB8AC3E}">
        <p14:creationId xmlns:p14="http://schemas.microsoft.com/office/powerpoint/2010/main" val="7847982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9954" fill="hold"/>
                                        <p:tgtEl>
                                          <p:spTgt spid="14"/>
                                        </p:tgtEl>
                                      </p:cBhvr>
                                    </p:cmd>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grpId="0" nodeType="click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anim calcmode="lin" valueType="num">
                                      <p:cBhvr additive="base">
                                        <p:cTn id="11"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6">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additive="base">
                                        <p:cTn id="17" dur="500" fill="hold"/>
                                        <p:tgtEl>
                                          <p:spTgt spid="11"/>
                                        </p:tgtEl>
                                        <p:attrNameLst>
                                          <p:attrName>ppt_x</p:attrName>
                                        </p:attrNameLst>
                                      </p:cBhvr>
                                      <p:tavLst>
                                        <p:tav tm="0">
                                          <p:val>
                                            <p:strVal val="#ppt_x"/>
                                          </p:val>
                                        </p:tav>
                                        <p:tav tm="100000">
                                          <p:val>
                                            <p:strVal val="#ppt_x"/>
                                          </p:val>
                                        </p:tav>
                                      </p:tavLst>
                                    </p:anim>
                                    <p:anim calcmode="lin" valueType="num">
                                      <p:cBhvr additive="base">
                                        <p:cTn id="1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anim calcmode="lin" valueType="num">
                                      <p:cBhvr additive="base">
                                        <p:cTn id="23" dur="500" fill="hold"/>
                                        <p:tgtEl>
                                          <p:spTgt spid="8"/>
                                        </p:tgtEl>
                                        <p:attrNameLst>
                                          <p:attrName>ppt_x</p:attrName>
                                        </p:attrNameLst>
                                      </p:cBhvr>
                                      <p:tavLst>
                                        <p:tav tm="0">
                                          <p:val>
                                            <p:strVal val="#ppt_x"/>
                                          </p:val>
                                        </p:tav>
                                        <p:tav tm="100000">
                                          <p:val>
                                            <p:strVal val="#ppt_x"/>
                                          </p:val>
                                        </p:tav>
                                      </p:tavLst>
                                    </p:anim>
                                    <p:anim calcmode="lin" valueType="num">
                                      <p:cBhvr additive="base">
                                        <p:cTn id="24"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grpId="0" nodeType="clickEffect">
                                  <p:stCondLst>
                                    <p:cond delay="0"/>
                                  </p:stCondLst>
                                  <p:childTnLst>
                                    <p:set>
                                      <p:cBhvr>
                                        <p:cTn id="28" dur="1" fill="hold">
                                          <p:stCondLst>
                                            <p:cond delay="0"/>
                                          </p:stCondLst>
                                        </p:cTn>
                                        <p:tgtEl>
                                          <p:spTgt spid="13"/>
                                        </p:tgtEl>
                                        <p:attrNameLst>
                                          <p:attrName>style.visibility</p:attrName>
                                        </p:attrNameLst>
                                      </p:cBhvr>
                                      <p:to>
                                        <p:strVal val="visible"/>
                                      </p:to>
                                    </p:set>
                                    <p:anim calcmode="lin" valueType="num">
                                      <p:cBhvr additive="base">
                                        <p:cTn id="29" dur="500" fill="hold"/>
                                        <p:tgtEl>
                                          <p:spTgt spid="13"/>
                                        </p:tgtEl>
                                        <p:attrNameLst>
                                          <p:attrName>ppt_x</p:attrName>
                                        </p:attrNameLst>
                                      </p:cBhvr>
                                      <p:tavLst>
                                        <p:tav tm="0">
                                          <p:val>
                                            <p:strVal val="#ppt_x"/>
                                          </p:val>
                                        </p:tav>
                                        <p:tav tm="100000">
                                          <p:val>
                                            <p:strVal val="#ppt_x"/>
                                          </p:val>
                                        </p:tav>
                                      </p:tavLst>
                                    </p:anim>
                                    <p:anim calcmode="lin" valueType="num">
                                      <p:cBhvr additive="base">
                                        <p:cTn id="30"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grpId="0" nodeType="clickEffect">
                                  <p:stCondLst>
                                    <p:cond delay="0"/>
                                  </p:stCondLst>
                                  <p:childTnLst>
                                    <p:set>
                                      <p:cBhvr>
                                        <p:cTn id="34" dur="1" fill="hold">
                                          <p:stCondLst>
                                            <p:cond delay="0"/>
                                          </p:stCondLst>
                                        </p:cTn>
                                        <p:tgtEl>
                                          <p:spTgt spid="10"/>
                                        </p:tgtEl>
                                        <p:attrNameLst>
                                          <p:attrName>style.visibility</p:attrName>
                                        </p:attrNameLst>
                                      </p:cBhvr>
                                      <p:to>
                                        <p:strVal val="visible"/>
                                      </p:to>
                                    </p:set>
                                    <p:anim calcmode="lin" valueType="num">
                                      <p:cBhvr additive="base">
                                        <p:cTn id="35" dur="500" fill="hold"/>
                                        <p:tgtEl>
                                          <p:spTgt spid="10"/>
                                        </p:tgtEl>
                                        <p:attrNameLst>
                                          <p:attrName>ppt_x</p:attrName>
                                        </p:attrNameLst>
                                      </p:cBhvr>
                                      <p:tavLst>
                                        <p:tav tm="0">
                                          <p:val>
                                            <p:strVal val="#ppt_x"/>
                                          </p:val>
                                        </p:tav>
                                        <p:tav tm="100000">
                                          <p:val>
                                            <p:strVal val="#ppt_x"/>
                                          </p:val>
                                        </p:tav>
                                      </p:tavLst>
                                    </p:anim>
                                    <p:anim calcmode="lin" valueType="num">
                                      <p:cBhvr additive="base">
                                        <p:cTn id="36"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grpId="0" nodeType="clickEffect">
                                  <p:stCondLst>
                                    <p:cond delay="0"/>
                                  </p:stCondLst>
                                  <p:childTnLst>
                                    <p:set>
                                      <p:cBhvr>
                                        <p:cTn id="40" dur="1" fill="hold">
                                          <p:stCondLst>
                                            <p:cond delay="0"/>
                                          </p:stCondLst>
                                        </p:cTn>
                                        <p:tgtEl>
                                          <p:spTgt spid="9"/>
                                        </p:tgtEl>
                                        <p:attrNameLst>
                                          <p:attrName>style.visibility</p:attrName>
                                        </p:attrNameLst>
                                      </p:cBhvr>
                                      <p:to>
                                        <p:strVal val="visible"/>
                                      </p:to>
                                    </p:set>
                                    <p:anim calcmode="lin" valueType="num">
                                      <p:cBhvr additive="base">
                                        <p:cTn id="41" dur="500" fill="hold"/>
                                        <p:tgtEl>
                                          <p:spTgt spid="9"/>
                                        </p:tgtEl>
                                        <p:attrNameLst>
                                          <p:attrName>ppt_x</p:attrName>
                                        </p:attrNameLst>
                                      </p:cBhvr>
                                      <p:tavLst>
                                        <p:tav tm="0">
                                          <p:val>
                                            <p:strVal val="#ppt_x"/>
                                          </p:val>
                                        </p:tav>
                                        <p:tav tm="100000">
                                          <p:val>
                                            <p:strVal val="#ppt_x"/>
                                          </p:val>
                                        </p:tav>
                                      </p:tavLst>
                                    </p:anim>
                                    <p:anim calcmode="lin" valueType="num">
                                      <p:cBhvr additive="base">
                                        <p:cTn id="4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grpId="0" nodeType="clickEffect">
                                  <p:stCondLst>
                                    <p:cond delay="0"/>
                                  </p:stCondLst>
                                  <p:childTnLst>
                                    <p:set>
                                      <p:cBhvr>
                                        <p:cTn id="46" dur="1" fill="hold">
                                          <p:stCondLst>
                                            <p:cond delay="0"/>
                                          </p:stCondLst>
                                        </p:cTn>
                                        <p:tgtEl>
                                          <p:spTgt spid="3"/>
                                        </p:tgtEl>
                                        <p:attrNameLst>
                                          <p:attrName>style.visibility</p:attrName>
                                        </p:attrNameLst>
                                      </p:cBhvr>
                                      <p:to>
                                        <p:strVal val="visible"/>
                                      </p:to>
                                    </p:set>
                                    <p:anim calcmode="lin" valueType="num">
                                      <p:cBhvr additive="base">
                                        <p:cTn id="47" dur="500" fill="hold"/>
                                        <p:tgtEl>
                                          <p:spTgt spid="3"/>
                                        </p:tgtEl>
                                        <p:attrNameLst>
                                          <p:attrName>ppt_x</p:attrName>
                                        </p:attrNameLst>
                                      </p:cBhvr>
                                      <p:tavLst>
                                        <p:tav tm="0">
                                          <p:val>
                                            <p:strVal val="#ppt_x"/>
                                          </p:val>
                                        </p:tav>
                                        <p:tav tm="100000">
                                          <p:val>
                                            <p:strVal val="#ppt_x"/>
                                          </p:val>
                                        </p:tav>
                                      </p:tavLst>
                                    </p:anim>
                                    <p:anim calcmode="lin" valueType="num">
                                      <p:cBhvr additive="base">
                                        <p:cTn id="4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p:cTn id="49" fill="hold" display="0">
                  <p:stCondLst>
                    <p:cond delay="indefinite"/>
                  </p:stCondLst>
                  <p:endCondLst>
                    <p:cond evt="onStopAudio" delay="0">
                      <p:tgtEl>
                        <p:sldTgt/>
                      </p:tgtEl>
                    </p:cond>
                  </p:endCondLst>
                </p:cTn>
                <p:tgtEl>
                  <p:spTgt spid="14"/>
                </p:tgtEl>
              </p:cMediaNode>
            </p:audio>
          </p:childTnLst>
        </p:cTn>
      </p:par>
    </p:tnLst>
    <p:bldLst>
      <p:bldP spid="6" grpId="0" build="p"/>
      <p:bldP spid="3" grpId="0"/>
      <p:bldP spid="8" grpId="0"/>
      <p:bldP spid="9" grpId="0"/>
      <p:bldP spid="10" grpId="0"/>
      <p:bldP spid="11" grpId="0"/>
      <p:bldP spid="1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64D9EED-58A2-F492-9765-F66D504CDD50}"/>
              </a:ext>
            </a:extLst>
          </p:cNvPr>
          <p:cNvSpPr>
            <a:spLocks noGrp="1"/>
          </p:cNvSpPr>
          <p:nvPr>
            <p:ph type="title"/>
          </p:nvPr>
        </p:nvSpPr>
        <p:spPr/>
        <p:txBody>
          <a:bodyPr>
            <a:normAutofit fontScale="90000"/>
          </a:bodyPr>
          <a:lstStyle/>
          <a:p>
            <a:r>
              <a:rPr lang="en-US">
                <a:solidFill>
                  <a:srgbClr val="0070C0"/>
                </a:solidFill>
              </a:rPr>
              <a:t>Specific Challenges in Medical Publications Market</a:t>
            </a:r>
          </a:p>
        </p:txBody>
      </p:sp>
      <p:graphicFrame>
        <p:nvGraphicFramePr>
          <p:cNvPr id="19" name="Content Placeholder 5">
            <a:extLst>
              <a:ext uri="{FF2B5EF4-FFF2-40B4-BE49-F238E27FC236}">
                <a16:creationId xmlns:a16="http://schemas.microsoft.com/office/drawing/2014/main" id="{0B588E52-97C0-D8E8-A88D-44F52DF55AC3}"/>
              </a:ext>
            </a:extLst>
          </p:cNvPr>
          <p:cNvGraphicFramePr>
            <a:graphicFrameLocks noGrp="1"/>
          </p:cNvGraphicFramePr>
          <p:nvPr>
            <p:ph sz="half" idx="1"/>
          </p:nvPr>
        </p:nvGraphicFramePr>
        <p:xfrm>
          <a:off x="857250" y="1369219"/>
          <a:ext cx="3462161" cy="32635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Content Placeholder 2" descr="A stethoscope on a graph&#10;&#10;Description automatically generated">
            <a:extLst>
              <a:ext uri="{FF2B5EF4-FFF2-40B4-BE49-F238E27FC236}">
                <a16:creationId xmlns:a16="http://schemas.microsoft.com/office/drawing/2014/main" id="{C7BA993B-6B92-5833-9AFF-8B7EAA1F0A03}"/>
              </a:ext>
            </a:extLst>
          </p:cNvPr>
          <p:cNvPicPr>
            <a:picLocks noGrp="1" noChangeAspect="1"/>
          </p:cNvPicPr>
          <p:nvPr>
            <p:ph sz="half" idx="2"/>
          </p:nvPr>
        </p:nvPicPr>
        <p:blipFill>
          <a:blip r:embed="rId8"/>
          <a:stretch>
            <a:fillRect/>
          </a:stretch>
        </p:blipFill>
        <p:spPr>
          <a:xfrm>
            <a:off x="4857750" y="1906205"/>
            <a:ext cx="3462338" cy="2189928"/>
          </a:xfrm>
        </p:spPr>
      </p:pic>
      <p:sp>
        <p:nvSpPr>
          <p:cNvPr id="4" name="Slide Number Placeholder 3">
            <a:extLst>
              <a:ext uri="{FF2B5EF4-FFF2-40B4-BE49-F238E27FC236}">
                <a16:creationId xmlns:a16="http://schemas.microsoft.com/office/drawing/2014/main" id="{28A7B97B-345C-9905-2F8C-CB4526E6276F}"/>
              </a:ext>
            </a:extLst>
          </p:cNvPr>
          <p:cNvSpPr>
            <a:spLocks noGrp="1"/>
          </p:cNvSpPr>
          <p:nvPr>
            <p:ph type="sldNum" sz="quarter" idx="10"/>
          </p:nvPr>
        </p:nvSpPr>
        <p:spPr/>
        <p:txBody>
          <a:bodyPr/>
          <a:lstStyle/>
          <a:p>
            <a:fld id="{42AD0A0E-4515-A647-B2E3-7F1B29FB990E}" type="slidenum">
              <a:rPr lang="en-US" smtClean="0"/>
              <a:pPr/>
              <a:t>13</a:t>
            </a:fld>
            <a:endParaRPr lang="en-US"/>
          </a:p>
        </p:txBody>
      </p:sp>
    </p:spTree>
    <p:extLst>
      <p:ext uri="{BB962C8B-B14F-4D97-AF65-F5344CB8AC3E}">
        <p14:creationId xmlns:p14="http://schemas.microsoft.com/office/powerpoint/2010/main" val="36163591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64D9EED-58A2-F492-9765-F66D504CDD50}"/>
              </a:ext>
            </a:extLst>
          </p:cNvPr>
          <p:cNvSpPr>
            <a:spLocks noGrp="1"/>
          </p:cNvSpPr>
          <p:nvPr>
            <p:ph type="title"/>
          </p:nvPr>
        </p:nvSpPr>
        <p:spPr/>
        <p:txBody>
          <a:bodyPr>
            <a:normAutofit/>
          </a:bodyPr>
          <a:lstStyle/>
          <a:p>
            <a:r>
              <a:rPr lang="en-US">
                <a:solidFill>
                  <a:srgbClr val="0070C0"/>
                </a:solidFill>
              </a:rPr>
              <a:t>Impact of Competitive Job Market</a:t>
            </a:r>
          </a:p>
        </p:txBody>
      </p:sp>
      <p:sp>
        <p:nvSpPr>
          <p:cNvPr id="4" name="Slide Number Placeholder 3">
            <a:extLst>
              <a:ext uri="{FF2B5EF4-FFF2-40B4-BE49-F238E27FC236}">
                <a16:creationId xmlns:a16="http://schemas.microsoft.com/office/drawing/2014/main" id="{28A7B97B-345C-9905-2F8C-CB4526E6276F}"/>
              </a:ext>
            </a:extLst>
          </p:cNvPr>
          <p:cNvSpPr>
            <a:spLocks noGrp="1"/>
          </p:cNvSpPr>
          <p:nvPr>
            <p:ph type="sldNum" sz="quarter" idx="10"/>
          </p:nvPr>
        </p:nvSpPr>
        <p:spPr/>
        <p:txBody>
          <a:bodyPr/>
          <a:lstStyle/>
          <a:p>
            <a:fld id="{42AD0A0E-4515-A647-B2E3-7F1B29FB990E}" type="slidenum">
              <a:rPr lang="en-US" smtClean="0"/>
              <a:pPr/>
              <a:t>14</a:t>
            </a:fld>
            <a:endParaRPr lang="en-US"/>
          </a:p>
        </p:txBody>
      </p:sp>
      <p:graphicFrame>
        <p:nvGraphicFramePr>
          <p:cNvPr id="2" name="Diagram 1">
            <a:extLst>
              <a:ext uri="{FF2B5EF4-FFF2-40B4-BE49-F238E27FC236}">
                <a16:creationId xmlns:a16="http://schemas.microsoft.com/office/drawing/2014/main" id="{ABCD39C9-660A-6736-B5ED-3AF0EE950351}"/>
              </a:ext>
            </a:extLst>
          </p:cNvPr>
          <p:cNvGraphicFramePr/>
          <p:nvPr/>
        </p:nvGraphicFramePr>
        <p:xfrm>
          <a:off x="-206643" y="1349001"/>
          <a:ext cx="4762064" cy="302134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2" name="Diagram 11">
            <a:extLst>
              <a:ext uri="{FF2B5EF4-FFF2-40B4-BE49-F238E27FC236}">
                <a16:creationId xmlns:a16="http://schemas.microsoft.com/office/drawing/2014/main" id="{67187DC1-C25B-07B3-59BF-B32AEF2EAF0A}"/>
              </a:ext>
            </a:extLst>
          </p:cNvPr>
          <p:cNvGraphicFramePr/>
          <p:nvPr/>
        </p:nvGraphicFramePr>
        <p:xfrm>
          <a:off x="4588580" y="1062754"/>
          <a:ext cx="4388533" cy="335974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6263806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AsOne/>
      </p:bldGraphic>
      <p:bldGraphic spid="12" grpId="0">
        <p:bldAsOne/>
      </p:bldGraphic>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BCED93A-3FDC-42A8-866D-179067255059}"/>
              </a:ext>
            </a:extLst>
          </p:cNvPr>
          <p:cNvSpPr>
            <a:spLocks noGrp="1"/>
          </p:cNvSpPr>
          <p:nvPr>
            <p:ph type="title"/>
          </p:nvPr>
        </p:nvSpPr>
        <p:spPr/>
        <p:txBody>
          <a:bodyPr/>
          <a:lstStyle/>
          <a:p>
            <a:r>
              <a:rPr lang="en-US">
                <a:solidFill>
                  <a:srgbClr val="00B050"/>
                </a:solidFill>
              </a:rPr>
              <a:t>Cultivating a Compelling Employer Brand</a:t>
            </a:r>
          </a:p>
        </p:txBody>
      </p:sp>
      <p:sp>
        <p:nvSpPr>
          <p:cNvPr id="4" name="Slide Number Placeholder 3">
            <a:extLst>
              <a:ext uri="{FF2B5EF4-FFF2-40B4-BE49-F238E27FC236}">
                <a16:creationId xmlns:a16="http://schemas.microsoft.com/office/drawing/2014/main" id="{05D929D8-1ADB-44AE-92E9-468E38F2AD47}"/>
              </a:ext>
            </a:extLst>
          </p:cNvPr>
          <p:cNvSpPr>
            <a:spLocks noGrp="1"/>
          </p:cNvSpPr>
          <p:nvPr>
            <p:ph type="sldNum" sz="quarter" idx="10"/>
          </p:nvPr>
        </p:nvSpPr>
        <p:spPr/>
        <p:txBody>
          <a:bodyPr/>
          <a:lstStyle/>
          <a:p>
            <a:fld id="{42AD0A0E-4515-A647-B2E3-7F1B29FB990E}" type="slidenum">
              <a:rPr lang="en-US" smtClean="0"/>
              <a:pPr/>
              <a:t>15</a:t>
            </a:fld>
            <a:endParaRPr lang="en-US"/>
          </a:p>
        </p:txBody>
      </p:sp>
      <p:sp>
        <p:nvSpPr>
          <p:cNvPr id="2" name="TextBox 1">
            <a:extLst>
              <a:ext uri="{FF2B5EF4-FFF2-40B4-BE49-F238E27FC236}">
                <a16:creationId xmlns:a16="http://schemas.microsoft.com/office/drawing/2014/main" id="{FAD8677B-8FBB-A759-0262-526F00EA8540}"/>
              </a:ext>
            </a:extLst>
          </p:cNvPr>
          <p:cNvSpPr txBox="1"/>
          <p:nvPr/>
        </p:nvSpPr>
        <p:spPr>
          <a:xfrm>
            <a:off x="3000374" y="3244645"/>
            <a:ext cx="4388568" cy="507831"/>
          </a:xfrm>
          <a:prstGeom prst="rect">
            <a:avLst/>
          </a:prstGeom>
          <a:noFill/>
        </p:spPr>
        <p:txBody>
          <a:bodyPr wrap="square" rtlCol="0">
            <a:spAutoFit/>
          </a:bodyPr>
          <a:lstStyle/>
          <a:p>
            <a:r>
              <a:rPr lang="en-US"/>
              <a:t>Rachel Kennedy, Head of Scientific Communications, Moderna</a:t>
            </a:r>
          </a:p>
        </p:txBody>
      </p:sp>
    </p:spTree>
    <p:extLst>
      <p:ext uri="{BB962C8B-B14F-4D97-AF65-F5344CB8AC3E}">
        <p14:creationId xmlns:p14="http://schemas.microsoft.com/office/powerpoint/2010/main" val="11013242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414"/>
        <p:cNvGrpSpPr/>
        <p:nvPr/>
      </p:nvGrpSpPr>
      <p:grpSpPr>
        <a:xfrm>
          <a:off x="0" y="0"/>
          <a:ext cx="0" cy="0"/>
          <a:chOff x="0" y="0"/>
          <a:chExt cx="0" cy="0"/>
        </a:xfrm>
      </p:grpSpPr>
      <p:sp>
        <p:nvSpPr>
          <p:cNvPr id="123" name="Shape0_20240401_150559">
            <a:extLst>
              <a:ext uri="{FF2B5EF4-FFF2-40B4-BE49-F238E27FC236}">
                <a16:creationId xmlns:a16="http://schemas.microsoft.com/office/drawing/2014/main" id="{8C13FC80-C3D4-49C4-BFC4-3C6302346D73}"/>
              </a:ext>
            </a:extLst>
          </p:cNvPr>
          <p:cNvSpPr/>
          <p:nvPr/>
        </p:nvSpPr>
        <p:spPr>
          <a:xfrm>
            <a:off x="0" y="4205445"/>
            <a:ext cx="393206" cy="938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IN" sz="1013"/>
          </a:p>
        </p:txBody>
      </p:sp>
      <p:sp>
        <p:nvSpPr>
          <p:cNvPr id="179" name="Google Shape;1417;p8">
            <a:extLst>
              <a:ext uri="{FF2B5EF4-FFF2-40B4-BE49-F238E27FC236}">
                <a16:creationId xmlns:a16="http://schemas.microsoft.com/office/drawing/2014/main" id="{C9E0E8BF-C4E9-4627-B9E9-985E7996A11F}"/>
              </a:ext>
            </a:extLst>
          </p:cNvPr>
          <p:cNvSpPr/>
          <p:nvPr>
            <p:custDataLst>
              <p:tags r:id="rId2"/>
            </p:custDataLst>
          </p:nvPr>
        </p:nvSpPr>
        <p:spPr>
          <a:xfrm>
            <a:off x="2" y="2"/>
            <a:ext cx="3567559" cy="4254371"/>
          </a:xfrm>
          <a:prstGeom prst="rect">
            <a:avLst/>
          </a:prstGeom>
          <a:solidFill>
            <a:srgbClr val="E0E0E0"/>
          </a:solidFill>
          <a:ln>
            <a:noFill/>
          </a:ln>
        </p:spPr>
        <p:txBody>
          <a:bodyPr spcFirstLastPara="1" wrap="square" lIns="68569" tIns="34275" rIns="68569" bIns="34275"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1800">
              <a:solidFill>
                <a:schemeClr val="dk1"/>
              </a:solidFill>
              <a:ea typeface="Helvetica"/>
              <a:cs typeface="Helvetica"/>
              <a:sym typeface="Helvetica"/>
            </a:endParaRPr>
          </a:p>
        </p:txBody>
      </p:sp>
      <p:grpSp>
        <p:nvGrpSpPr>
          <p:cNvPr id="317" name="Group 316">
            <a:extLst>
              <a:ext uri="{FF2B5EF4-FFF2-40B4-BE49-F238E27FC236}">
                <a16:creationId xmlns:a16="http://schemas.microsoft.com/office/drawing/2014/main" id="{B1853C56-C91C-42F2-AB60-20030A7B7E67}"/>
              </a:ext>
            </a:extLst>
          </p:cNvPr>
          <p:cNvGrpSpPr/>
          <p:nvPr>
            <p:custDataLst>
              <p:tags r:id="rId3"/>
            </p:custDataLst>
          </p:nvPr>
        </p:nvGrpSpPr>
        <p:grpSpPr>
          <a:xfrm>
            <a:off x="0" y="1149533"/>
            <a:ext cx="3861962" cy="3104840"/>
            <a:chOff x="3" y="1556859"/>
            <a:chExt cx="5119243" cy="4115636"/>
          </a:xfrm>
        </p:grpSpPr>
        <p:sp>
          <p:nvSpPr>
            <p:cNvPr id="318" name="Google Shape;1416;p8">
              <a:extLst>
                <a:ext uri="{FF2B5EF4-FFF2-40B4-BE49-F238E27FC236}">
                  <a16:creationId xmlns:a16="http://schemas.microsoft.com/office/drawing/2014/main" id="{9017613C-E7DC-4237-8B0D-61B39BAAE287}"/>
                </a:ext>
              </a:extLst>
            </p:cNvPr>
            <p:cNvSpPr/>
            <p:nvPr/>
          </p:nvSpPr>
          <p:spPr>
            <a:xfrm>
              <a:off x="458488" y="1556859"/>
              <a:ext cx="4200785" cy="4098075"/>
            </a:xfrm>
            <a:prstGeom prst="rect">
              <a:avLst/>
            </a:prstGeom>
            <a:no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19" name="Google Shape;1418;p8">
              <a:extLst>
                <a:ext uri="{FF2B5EF4-FFF2-40B4-BE49-F238E27FC236}">
                  <a16:creationId xmlns:a16="http://schemas.microsoft.com/office/drawing/2014/main" id="{5BB720BB-071F-4E8F-9C91-94958EBCB1DE}"/>
                </a:ext>
              </a:extLst>
            </p:cNvPr>
            <p:cNvSpPr/>
            <p:nvPr/>
          </p:nvSpPr>
          <p:spPr>
            <a:xfrm>
              <a:off x="3" y="1556859"/>
              <a:ext cx="5119243" cy="4096587"/>
            </a:xfrm>
            <a:prstGeom prst="rect">
              <a:avLst/>
            </a:prstGeom>
            <a:no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21" name="Shape1_20220719_154026">
              <a:extLst>
                <a:ext uri="{FF2B5EF4-FFF2-40B4-BE49-F238E27FC236}">
                  <a16:creationId xmlns:a16="http://schemas.microsoft.com/office/drawing/2014/main" id="{219B30D7-1B56-4AB8-9DF4-DE4682934CFF}"/>
                </a:ext>
              </a:extLst>
            </p:cNvPr>
            <p:cNvSpPr/>
            <p:nvPr/>
          </p:nvSpPr>
          <p:spPr>
            <a:xfrm>
              <a:off x="1333775" y="2228211"/>
              <a:ext cx="464439" cy="195005"/>
            </a:xfrm>
            <a:custGeom>
              <a:avLst/>
              <a:gdLst/>
              <a:ahLst/>
              <a:cxnLst/>
              <a:rect l="l" t="t" r="r" b="b"/>
              <a:pathLst>
                <a:path w="363" h="153" extrusionOk="0">
                  <a:moveTo>
                    <a:pt x="40" y="99"/>
                  </a:moveTo>
                  <a:cubicBezTo>
                    <a:pt x="18" y="99"/>
                    <a:pt x="0" y="117"/>
                    <a:pt x="0" y="139"/>
                  </a:cubicBezTo>
                  <a:cubicBezTo>
                    <a:pt x="0" y="144"/>
                    <a:pt x="0" y="148"/>
                    <a:pt x="2" y="152"/>
                  </a:cubicBezTo>
                  <a:cubicBezTo>
                    <a:pt x="2" y="153"/>
                    <a:pt x="2" y="153"/>
                    <a:pt x="2" y="153"/>
                  </a:cubicBezTo>
                  <a:cubicBezTo>
                    <a:pt x="345" y="153"/>
                    <a:pt x="345" y="153"/>
                    <a:pt x="345" y="153"/>
                  </a:cubicBezTo>
                  <a:cubicBezTo>
                    <a:pt x="351" y="148"/>
                    <a:pt x="357" y="144"/>
                    <a:pt x="363" y="139"/>
                  </a:cubicBezTo>
                  <a:cubicBezTo>
                    <a:pt x="39" y="139"/>
                    <a:pt x="39" y="139"/>
                    <a:pt x="39" y="139"/>
                  </a:cubicBezTo>
                  <a:cubicBezTo>
                    <a:pt x="39" y="138"/>
                    <a:pt x="39" y="138"/>
                    <a:pt x="39" y="138"/>
                  </a:cubicBezTo>
                  <a:cubicBezTo>
                    <a:pt x="38" y="134"/>
                    <a:pt x="37" y="129"/>
                    <a:pt x="37" y="125"/>
                  </a:cubicBezTo>
                  <a:cubicBezTo>
                    <a:pt x="37" y="115"/>
                    <a:pt x="40" y="106"/>
                    <a:pt x="46" y="99"/>
                  </a:cubicBezTo>
                  <a:cubicBezTo>
                    <a:pt x="44" y="99"/>
                    <a:pt x="42" y="99"/>
                    <a:pt x="40" y="99"/>
                  </a:cubicBezTo>
                  <a:moveTo>
                    <a:pt x="173" y="0"/>
                  </a:moveTo>
                  <a:cubicBezTo>
                    <a:pt x="136" y="3"/>
                    <a:pt x="107" y="34"/>
                    <a:pt x="107" y="72"/>
                  </a:cubicBezTo>
                  <a:cubicBezTo>
                    <a:pt x="107" y="72"/>
                    <a:pt x="107" y="72"/>
                    <a:pt x="107" y="72"/>
                  </a:cubicBezTo>
                  <a:cubicBezTo>
                    <a:pt x="93" y="72"/>
                    <a:pt x="81" y="77"/>
                    <a:pt x="71" y="85"/>
                  </a:cubicBezTo>
                  <a:cubicBezTo>
                    <a:pt x="73" y="85"/>
                    <a:pt x="75" y="85"/>
                    <a:pt x="77" y="85"/>
                  </a:cubicBezTo>
                  <a:cubicBezTo>
                    <a:pt x="83" y="85"/>
                    <a:pt x="88" y="86"/>
                    <a:pt x="94" y="88"/>
                  </a:cubicBezTo>
                  <a:cubicBezTo>
                    <a:pt x="104" y="70"/>
                    <a:pt x="123" y="58"/>
                    <a:pt x="144" y="58"/>
                  </a:cubicBezTo>
                  <a:cubicBezTo>
                    <a:pt x="144" y="58"/>
                    <a:pt x="144" y="58"/>
                    <a:pt x="144" y="58"/>
                  </a:cubicBezTo>
                  <a:cubicBezTo>
                    <a:pt x="144" y="34"/>
                    <a:pt x="156" y="13"/>
                    <a:pt x="173" y="0"/>
                  </a:cubicBezTo>
                </a:path>
              </a:pathLst>
            </a:custGeom>
            <a:solidFill>
              <a:schemeClr val="bg2">
                <a:lumMod val="90000"/>
              </a:schemeClr>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22" name="Google Shape;1420;p8">
              <a:extLst>
                <a:ext uri="{FF2B5EF4-FFF2-40B4-BE49-F238E27FC236}">
                  <a16:creationId xmlns:a16="http://schemas.microsoft.com/office/drawing/2014/main" id="{41AD9DFB-24A0-4CDA-B452-8A97AB457F0C}"/>
                </a:ext>
              </a:extLst>
            </p:cNvPr>
            <p:cNvSpPr/>
            <p:nvPr/>
          </p:nvSpPr>
          <p:spPr>
            <a:xfrm>
              <a:off x="1381410" y="2208859"/>
              <a:ext cx="585015" cy="196493"/>
            </a:xfrm>
            <a:custGeom>
              <a:avLst/>
              <a:gdLst/>
              <a:ahLst/>
              <a:cxnLst/>
              <a:rect l="l" t="t" r="r" b="b"/>
              <a:pathLst>
                <a:path w="457" h="154" extrusionOk="0">
                  <a:moveTo>
                    <a:pt x="416" y="103"/>
                  </a:moveTo>
                  <a:cubicBezTo>
                    <a:pt x="404" y="103"/>
                    <a:pt x="392" y="109"/>
                    <a:pt x="384" y="119"/>
                  </a:cubicBezTo>
                  <a:cubicBezTo>
                    <a:pt x="378" y="113"/>
                    <a:pt x="370" y="110"/>
                    <a:pt x="361" y="110"/>
                  </a:cubicBezTo>
                  <a:cubicBezTo>
                    <a:pt x="355" y="110"/>
                    <a:pt x="349" y="112"/>
                    <a:pt x="344" y="114"/>
                  </a:cubicBezTo>
                  <a:cubicBezTo>
                    <a:pt x="339" y="88"/>
                    <a:pt x="316" y="69"/>
                    <a:pt x="289" y="68"/>
                  </a:cubicBezTo>
                  <a:cubicBezTo>
                    <a:pt x="288" y="53"/>
                    <a:pt x="276" y="41"/>
                    <a:pt x="261" y="41"/>
                  </a:cubicBezTo>
                  <a:cubicBezTo>
                    <a:pt x="256" y="41"/>
                    <a:pt x="251" y="42"/>
                    <a:pt x="246" y="45"/>
                  </a:cubicBezTo>
                  <a:cubicBezTo>
                    <a:pt x="241" y="32"/>
                    <a:pt x="232" y="21"/>
                    <a:pt x="221" y="13"/>
                  </a:cubicBezTo>
                  <a:cubicBezTo>
                    <a:pt x="208" y="5"/>
                    <a:pt x="194" y="0"/>
                    <a:pt x="180" y="0"/>
                  </a:cubicBezTo>
                  <a:cubicBezTo>
                    <a:pt x="140" y="0"/>
                    <a:pt x="107" y="33"/>
                    <a:pt x="107" y="73"/>
                  </a:cubicBezTo>
                  <a:cubicBezTo>
                    <a:pt x="107" y="73"/>
                    <a:pt x="107" y="73"/>
                    <a:pt x="107" y="73"/>
                  </a:cubicBezTo>
                  <a:cubicBezTo>
                    <a:pt x="86" y="73"/>
                    <a:pt x="67" y="85"/>
                    <a:pt x="57" y="103"/>
                  </a:cubicBezTo>
                  <a:cubicBezTo>
                    <a:pt x="51" y="101"/>
                    <a:pt x="46" y="100"/>
                    <a:pt x="40" y="100"/>
                  </a:cubicBezTo>
                  <a:cubicBezTo>
                    <a:pt x="18" y="100"/>
                    <a:pt x="0" y="118"/>
                    <a:pt x="0" y="140"/>
                  </a:cubicBezTo>
                  <a:cubicBezTo>
                    <a:pt x="0" y="144"/>
                    <a:pt x="1" y="149"/>
                    <a:pt x="2" y="153"/>
                  </a:cubicBezTo>
                  <a:cubicBezTo>
                    <a:pt x="2" y="154"/>
                    <a:pt x="2" y="154"/>
                    <a:pt x="2" y="154"/>
                  </a:cubicBezTo>
                  <a:cubicBezTo>
                    <a:pt x="456" y="154"/>
                    <a:pt x="456" y="154"/>
                    <a:pt x="456" y="154"/>
                  </a:cubicBezTo>
                  <a:cubicBezTo>
                    <a:pt x="456" y="153"/>
                    <a:pt x="456" y="153"/>
                    <a:pt x="456" y="153"/>
                  </a:cubicBezTo>
                  <a:cubicBezTo>
                    <a:pt x="457" y="150"/>
                    <a:pt x="457" y="147"/>
                    <a:pt x="457" y="144"/>
                  </a:cubicBezTo>
                  <a:cubicBezTo>
                    <a:pt x="457" y="122"/>
                    <a:pt x="439" y="103"/>
                    <a:pt x="416" y="103"/>
                  </a:cubicBezTo>
                </a:path>
              </a:pathLst>
            </a:custGeom>
            <a:solidFill>
              <a:srgbClr val="FFFFFF"/>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23" name="Shape2_20220719_154026">
              <a:extLst>
                <a:ext uri="{FF2B5EF4-FFF2-40B4-BE49-F238E27FC236}">
                  <a16:creationId xmlns:a16="http://schemas.microsoft.com/office/drawing/2014/main" id="{EEBE1D8A-1400-4F9A-B641-FCDFD1FD6ED2}"/>
                </a:ext>
              </a:extLst>
            </p:cNvPr>
            <p:cNvSpPr/>
            <p:nvPr/>
          </p:nvSpPr>
          <p:spPr>
            <a:xfrm>
              <a:off x="3187063" y="2171644"/>
              <a:ext cx="467415" cy="168211"/>
            </a:xfrm>
            <a:custGeom>
              <a:avLst/>
              <a:gdLst/>
              <a:ahLst/>
              <a:cxnLst/>
              <a:rect l="l" t="t" r="r" b="b"/>
              <a:pathLst>
                <a:path w="366" h="131" extrusionOk="0">
                  <a:moveTo>
                    <a:pt x="256" y="121"/>
                  </a:moveTo>
                  <a:cubicBezTo>
                    <a:pt x="255" y="121"/>
                    <a:pt x="255" y="121"/>
                    <a:pt x="255" y="121"/>
                  </a:cubicBezTo>
                  <a:cubicBezTo>
                    <a:pt x="13" y="121"/>
                    <a:pt x="13" y="121"/>
                    <a:pt x="13" y="121"/>
                  </a:cubicBezTo>
                  <a:cubicBezTo>
                    <a:pt x="18" y="125"/>
                    <a:pt x="23" y="128"/>
                    <a:pt x="28" y="131"/>
                  </a:cubicBezTo>
                  <a:cubicBezTo>
                    <a:pt x="224" y="131"/>
                    <a:pt x="224" y="131"/>
                    <a:pt x="224" y="131"/>
                  </a:cubicBezTo>
                  <a:cubicBezTo>
                    <a:pt x="224" y="131"/>
                    <a:pt x="224" y="131"/>
                    <a:pt x="224" y="131"/>
                  </a:cubicBezTo>
                  <a:cubicBezTo>
                    <a:pt x="224" y="131"/>
                    <a:pt x="224" y="131"/>
                    <a:pt x="224" y="131"/>
                  </a:cubicBezTo>
                  <a:cubicBezTo>
                    <a:pt x="362" y="131"/>
                    <a:pt x="362" y="131"/>
                    <a:pt x="362" y="131"/>
                  </a:cubicBezTo>
                  <a:cubicBezTo>
                    <a:pt x="363" y="130"/>
                    <a:pt x="363" y="130"/>
                    <a:pt x="363" y="130"/>
                  </a:cubicBezTo>
                  <a:cubicBezTo>
                    <a:pt x="364" y="127"/>
                    <a:pt x="366" y="124"/>
                    <a:pt x="366" y="121"/>
                  </a:cubicBezTo>
                  <a:cubicBezTo>
                    <a:pt x="256" y="121"/>
                    <a:pt x="256" y="121"/>
                    <a:pt x="256" y="121"/>
                  </a:cubicBezTo>
                  <a:cubicBezTo>
                    <a:pt x="256" y="121"/>
                    <a:pt x="256" y="121"/>
                    <a:pt x="256" y="121"/>
                  </a:cubicBezTo>
                  <a:moveTo>
                    <a:pt x="7" y="83"/>
                  </a:moveTo>
                  <a:cubicBezTo>
                    <a:pt x="4" y="83"/>
                    <a:pt x="2" y="83"/>
                    <a:pt x="0" y="84"/>
                  </a:cubicBezTo>
                  <a:cubicBezTo>
                    <a:pt x="2" y="86"/>
                    <a:pt x="3" y="88"/>
                    <a:pt x="5" y="90"/>
                  </a:cubicBezTo>
                  <a:cubicBezTo>
                    <a:pt x="7" y="88"/>
                    <a:pt x="9" y="85"/>
                    <a:pt x="11" y="83"/>
                  </a:cubicBezTo>
                  <a:cubicBezTo>
                    <a:pt x="10" y="83"/>
                    <a:pt x="8" y="83"/>
                    <a:pt x="7" y="83"/>
                  </a:cubicBezTo>
                  <a:moveTo>
                    <a:pt x="329" y="68"/>
                  </a:moveTo>
                  <a:cubicBezTo>
                    <a:pt x="329" y="68"/>
                    <a:pt x="329" y="68"/>
                    <a:pt x="329" y="68"/>
                  </a:cubicBezTo>
                  <a:cubicBezTo>
                    <a:pt x="330" y="68"/>
                    <a:pt x="330" y="68"/>
                    <a:pt x="330" y="68"/>
                  </a:cubicBezTo>
                  <a:cubicBezTo>
                    <a:pt x="330" y="68"/>
                    <a:pt x="329" y="68"/>
                    <a:pt x="329" y="68"/>
                  </a:cubicBezTo>
                  <a:moveTo>
                    <a:pt x="72" y="57"/>
                  </a:moveTo>
                  <a:cubicBezTo>
                    <a:pt x="57" y="57"/>
                    <a:pt x="43" y="63"/>
                    <a:pt x="33" y="74"/>
                  </a:cubicBezTo>
                  <a:cubicBezTo>
                    <a:pt x="35" y="74"/>
                    <a:pt x="37" y="74"/>
                    <a:pt x="39" y="74"/>
                  </a:cubicBezTo>
                  <a:cubicBezTo>
                    <a:pt x="45" y="74"/>
                    <a:pt x="50" y="75"/>
                    <a:pt x="56" y="77"/>
                  </a:cubicBezTo>
                  <a:cubicBezTo>
                    <a:pt x="60" y="69"/>
                    <a:pt x="66" y="62"/>
                    <a:pt x="74" y="57"/>
                  </a:cubicBezTo>
                  <a:cubicBezTo>
                    <a:pt x="73" y="57"/>
                    <a:pt x="73" y="57"/>
                    <a:pt x="72" y="57"/>
                  </a:cubicBezTo>
                  <a:moveTo>
                    <a:pt x="159" y="0"/>
                  </a:moveTo>
                  <a:cubicBezTo>
                    <a:pt x="144" y="1"/>
                    <a:pt x="128" y="7"/>
                    <a:pt x="116" y="17"/>
                  </a:cubicBezTo>
                  <a:cubicBezTo>
                    <a:pt x="106" y="25"/>
                    <a:pt x="98" y="36"/>
                    <a:pt x="93" y="48"/>
                  </a:cubicBezTo>
                  <a:cubicBezTo>
                    <a:pt x="97" y="47"/>
                    <a:pt x="100" y="47"/>
                    <a:pt x="104" y="47"/>
                  </a:cubicBezTo>
                  <a:cubicBezTo>
                    <a:pt x="110" y="47"/>
                    <a:pt x="116" y="48"/>
                    <a:pt x="121" y="50"/>
                  </a:cubicBezTo>
                  <a:cubicBezTo>
                    <a:pt x="125" y="33"/>
                    <a:pt x="135" y="18"/>
                    <a:pt x="148" y="8"/>
                  </a:cubicBezTo>
                  <a:cubicBezTo>
                    <a:pt x="152" y="5"/>
                    <a:pt x="155" y="2"/>
                    <a:pt x="159" y="0"/>
                  </a:cubicBezTo>
                </a:path>
              </a:pathLst>
            </a:custGeom>
            <a:solidFill>
              <a:schemeClr val="bg2">
                <a:lumMod val="90000"/>
              </a:schemeClr>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24" name="Google Shape;1422;p8">
              <a:extLst>
                <a:ext uri="{FF2B5EF4-FFF2-40B4-BE49-F238E27FC236}">
                  <a16:creationId xmlns:a16="http://schemas.microsoft.com/office/drawing/2014/main" id="{ACD4F466-87FD-45E3-A44B-10CAA04DCDB5}"/>
                </a:ext>
              </a:extLst>
            </p:cNvPr>
            <p:cNvSpPr/>
            <p:nvPr/>
          </p:nvSpPr>
          <p:spPr>
            <a:xfrm>
              <a:off x="3042669" y="2158247"/>
              <a:ext cx="656467" cy="168211"/>
            </a:xfrm>
            <a:custGeom>
              <a:avLst/>
              <a:gdLst/>
              <a:ahLst/>
              <a:cxnLst/>
              <a:rect l="l" t="t" r="r" b="b"/>
              <a:pathLst>
                <a:path w="513" h="131" extrusionOk="0">
                  <a:moveTo>
                    <a:pt x="0" y="130"/>
                  </a:moveTo>
                  <a:cubicBezTo>
                    <a:pt x="0" y="114"/>
                    <a:pt x="13" y="101"/>
                    <a:pt x="28" y="101"/>
                  </a:cubicBezTo>
                  <a:cubicBezTo>
                    <a:pt x="32" y="101"/>
                    <a:pt x="35" y="102"/>
                    <a:pt x="38" y="103"/>
                  </a:cubicBezTo>
                  <a:cubicBezTo>
                    <a:pt x="47" y="88"/>
                    <a:pt x="62" y="79"/>
                    <a:pt x="79" y="79"/>
                  </a:cubicBezTo>
                  <a:cubicBezTo>
                    <a:pt x="95" y="79"/>
                    <a:pt x="109" y="87"/>
                    <a:pt x="118" y="100"/>
                  </a:cubicBezTo>
                  <a:cubicBezTo>
                    <a:pt x="126" y="90"/>
                    <a:pt x="138" y="84"/>
                    <a:pt x="152" y="84"/>
                  </a:cubicBezTo>
                  <a:cubicBezTo>
                    <a:pt x="158" y="84"/>
                    <a:pt x="163" y="85"/>
                    <a:pt x="169" y="87"/>
                  </a:cubicBezTo>
                  <a:cubicBezTo>
                    <a:pt x="178" y="69"/>
                    <a:pt x="197" y="57"/>
                    <a:pt x="217" y="57"/>
                  </a:cubicBezTo>
                  <a:cubicBezTo>
                    <a:pt x="223" y="57"/>
                    <a:pt x="229" y="58"/>
                    <a:pt x="234" y="60"/>
                  </a:cubicBezTo>
                  <a:cubicBezTo>
                    <a:pt x="238" y="43"/>
                    <a:pt x="248" y="28"/>
                    <a:pt x="261" y="18"/>
                  </a:cubicBezTo>
                  <a:cubicBezTo>
                    <a:pt x="275" y="6"/>
                    <a:pt x="292" y="0"/>
                    <a:pt x="310" y="0"/>
                  </a:cubicBezTo>
                  <a:cubicBezTo>
                    <a:pt x="328" y="0"/>
                    <a:pt x="346" y="6"/>
                    <a:pt x="360" y="18"/>
                  </a:cubicBezTo>
                  <a:cubicBezTo>
                    <a:pt x="373" y="29"/>
                    <a:pt x="383" y="44"/>
                    <a:pt x="387" y="60"/>
                  </a:cubicBezTo>
                  <a:cubicBezTo>
                    <a:pt x="392" y="58"/>
                    <a:pt x="398" y="57"/>
                    <a:pt x="404" y="57"/>
                  </a:cubicBezTo>
                  <a:cubicBezTo>
                    <a:pt x="420" y="57"/>
                    <a:pt x="434" y="65"/>
                    <a:pt x="442" y="78"/>
                  </a:cubicBezTo>
                  <a:cubicBezTo>
                    <a:pt x="450" y="71"/>
                    <a:pt x="460" y="68"/>
                    <a:pt x="470" y="68"/>
                  </a:cubicBezTo>
                  <a:cubicBezTo>
                    <a:pt x="494" y="68"/>
                    <a:pt x="513" y="87"/>
                    <a:pt x="513" y="111"/>
                  </a:cubicBezTo>
                  <a:cubicBezTo>
                    <a:pt x="513" y="118"/>
                    <a:pt x="511" y="124"/>
                    <a:pt x="508" y="131"/>
                  </a:cubicBezTo>
                  <a:cubicBezTo>
                    <a:pt x="507" y="131"/>
                    <a:pt x="507" y="131"/>
                    <a:pt x="507" y="131"/>
                  </a:cubicBezTo>
                  <a:cubicBezTo>
                    <a:pt x="369" y="131"/>
                    <a:pt x="369" y="131"/>
                    <a:pt x="369" y="131"/>
                  </a:cubicBezTo>
                  <a:cubicBezTo>
                    <a:pt x="369" y="131"/>
                    <a:pt x="369" y="131"/>
                    <a:pt x="369" y="131"/>
                  </a:cubicBezTo>
                  <a:cubicBezTo>
                    <a:pt x="368" y="131"/>
                    <a:pt x="368" y="131"/>
                    <a:pt x="368" y="131"/>
                  </a:cubicBezTo>
                  <a:cubicBezTo>
                    <a:pt x="0" y="131"/>
                    <a:pt x="0" y="131"/>
                    <a:pt x="0" y="131"/>
                  </a:cubicBezTo>
                  <a:cubicBezTo>
                    <a:pt x="0" y="130"/>
                    <a:pt x="0" y="130"/>
                    <a:pt x="0" y="130"/>
                  </a:cubicBezTo>
                </a:path>
              </a:pathLst>
            </a:custGeom>
            <a:solidFill>
              <a:srgbClr val="FFFFFF"/>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25" name="Google Shape;1423;p8">
              <a:extLst>
                <a:ext uri="{FF2B5EF4-FFF2-40B4-BE49-F238E27FC236}">
                  <a16:creationId xmlns:a16="http://schemas.microsoft.com/office/drawing/2014/main" id="{681C2934-75E2-46F6-A2C0-43281A775E31}"/>
                </a:ext>
              </a:extLst>
            </p:cNvPr>
            <p:cNvSpPr/>
            <p:nvPr/>
          </p:nvSpPr>
          <p:spPr>
            <a:xfrm>
              <a:off x="1333775" y="2304128"/>
              <a:ext cx="1798211" cy="2237344"/>
            </a:xfrm>
            <a:custGeom>
              <a:avLst/>
              <a:gdLst/>
              <a:ahLst/>
              <a:cxnLst/>
              <a:rect l="l" t="t" r="r" b="b"/>
              <a:pathLst>
                <a:path w="1405" h="1747" extrusionOk="0">
                  <a:moveTo>
                    <a:pt x="925" y="1747"/>
                  </a:moveTo>
                  <a:cubicBezTo>
                    <a:pt x="925" y="1747"/>
                    <a:pt x="925" y="1747"/>
                    <a:pt x="925" y="1747"/>
                  </a:cubicBezTo>
                  <a:cubicBezTo>
                    <a:pt x="925" y="1747"/>
                    <a:pt x="925" y="1747"/>
                    <a:pt x="926" y="1747"/>
                  </a:cubicBezTo>
                  <a:cubicBezTo>
                    <a:pt x="925" y="1747"/>
                    <a:pt x="925" y="1747"/>
                    <a:pt x="925" y="1747"/>
                  </a:cubicBezTo>
                  <a:moveTo>
                    <a:pt x="641" y="1676"/>
                  </a:moveTo>
                  <a:cubicBezTo>
                    <a:pt x="621" y="1695"/>
                    <a:pt x="621" y="1695"/>
                    <a:pt x="621" y="1695"/>
                  </a:cubicBezTo>
                  <a:cubicBezTo>
                    <a:pt x="622" y="1695"/>
                    <a:pt x="623" y="1695"/>
                    <a:pt x="623" y="1695"/>
                  </a:cubicBezTo>
                  <a:cubicBezTo>
                    <a:pt x="642" y="1676"/>
                    <a:pt x="642" y="1676"/>
                    <a:pt x="642" y="1676"/>
                  </a:cubicBezTo>
                  <a:cubicBezTo>
                    <a:pt x="642" y="1676"/>
                    <a:pt x="641" y="1676"/>
                    <a:pt x="641" y="1676"/>
                  </a:cubicBezTo>
                  <a:moveTo>
                    <a:pt x="1405" y="1617"/>
                  </a:moveTo>
                  <a:cubicBezTo>
                    <a:pt x="1298" y="1676"/>
                    <a:pt x="1178" y="1714"/>
                    <a:pt x="1050" y="1727"/>
                  </a:cubicBezTo>
                  <a:cubicBezTo>
                    <a:pt x="1050" y="1739"/>
                    <a:pt x="1050" y="1739"/>
                    <a:pt x="1050" y="1739"/>
                  </a:cubicBezTo>
                  <a:cubicBezTo>
                    <a:pt x="1179" y="1723"/>
                    <a:pt x="1299" y="1680"/>
                    <a:pt x="1405" y="1617"/>
                  </a:cubicBezTo>
                  <a:moveTo>
                    <a:pt x="303" y="1462"/>
                  </a:moveTo>
                  <a:cubicBezTo>
                    <a:pt x="282" y="1484"/>
                    <a:pt x="282" y="1484"/>
                    <a:pt x="282" y="1484"/>
                  </a:cubicBezTo>
                  <a:cubicBezTo>
                    <a:pt x="289" y="1491"/>
                    <a:pt x="297" y="1498"/>
                    <a:pt x="305" y="1506"/>
                  </a:cubicBezTo>
                  <a:cubicBezTo>
                    <a:pt x="326" y="1484"/>
                    <a:pt x="326" y="1484"/>
                    <a:pt x="326" y="1484"/>
                  </a:cubicBezTo>
                  <a:cubicBezTo>
                    <a:pt x="319" y="1477"/>
                    <a:pt x="311" y="1469"/>
                    <a:pt x="303" y="1462"/>
                  </a:cubicBezTo>
                  <a:moveTo>
                    <a:pt x="115" y="1196"/>
                  </a:moveTo>
                  <a:cubicBezTo>
                    <a:pt x="115" y="1267"/>
                    <a:pt x="115" y="1267"/>
                    <a:pt x="115" y="1267"/>
                  </a:cubicBezTo>
                  <a:cubicBezTo>
                    <a:pt x="124" y="1281"/>
                    <a:pt x="132" y="1296"/>
                    <a:pt x="141" y="1310"/>
                  </a:cubicBezTo>
                  <a:cubicBezTo>
                    <a:pt x="164" y="1286"/>
                    <a:pt x="164" y="1286"/>
                    <a:pt x="164" y="1286"/>
                  </a:cubicBezTo>
                  <a:cubicBezTo>
                    <a:pt x="146" y="1257"/>
                    <a:pt x="130" y="1227"/>
                    <a:pt x="115" y="1196"/>
                  </a:cubicBezTo>
                  <a:moveTo>
                    <a:pt x="38" y="942"/>
                  </a:moveTo>
                  <a:cubicBezTo>
                    <a:pt x="8" y="942"/>
                    <a:pt x="8" y="942"/>
                    <a:pt x="8" y="942"/>
                  </a:cubicBezTo>
                  <a:cubicBezTo>
                    <a:pt x="20" y="1028"/>
                    <a:pt x="43" y="1111"/>
                    <a:pt x="77" y="1189"/>
                  </a:cubicBezTo>
                  <a:cubicBezTo>
                    <a:pt x="112" y="1189"/>
                    <a:pt x="112" y="1189"/>
                    <a:pt x="112" y="1189"/>
                  </a:cubicBezTo>
                  <a:cubicBezTo>
                    <a:pt x="77" y="1112"/>
                    <a:pt x="51" y="1029"/>
                    <a:pt x="38" y="942"/>
                  </a:cubicBezTo>
                  <a:moveTo>
                    <a:pt x="354" y="93"/>
                  </a:moveTo>
                  <a:cubicBezTo>
                    <a:pt x="345" y="93"/>
                    <a:pt x="345" y="93"/>
                    <a:pt x="345" y="93"/>
                  </a:cubicBezTo>
                  <a:cubicBezTo>
                    <a:pt x="134" y="264"/>
                    <a:pt x="0" y="524"/>
                    <a:pt x="0" y="817"/>
                  </a:cubicBezTo>
                  <a:cubicBezTo>
                    <a:pt x="0" y="839"/>
                    <a:pt x="0" y="861"/>
                    <a:pt x="2" y="883"/>
                  </a:cubicBezTo>
                  <a:cubicBezTo>
                    <a:pt x="8" y="887"/>
                    <a:pt x="13" y="892"/>
                    <a:pt x="17" y="897"/>
                  </a:cubicBezTo>
                  <a:cubicBezTo>
                    <a:pt x="21" y="891"/>
                    <a:pt x="26" y="886"/>
                    <a:pt x="31" y="882"/>
                  </a:cubicBezTo>
                  <a:cubicBezTo>
                    <a:pt x="29" y="855"/>
                    <a:pt x="28" y="828"/>
                    <a:pt x="28" y="801"/>
                  </a:cubicBezTo>
                  <a:cubicBezTo>
                    <a:pt x="28" y="517"/>
                    <a:pt x="154" y="264"/>
                    <a:pt x="354" y="93"/>
                  </a:cubicBezTo>
                  <a:moveTo>
                    <a:pt x="483" y="0"/>
                  </a:moveTo>
                  <a:cubicBezTo>
                    <a:pt x="460" y="13"/>
                    <a:pt x="438" y="26"/>
                    <a:pt x="417" y="40"/>
                  </a:cubicBezTo>
                  <a:cubicBezTo>
                    <a:pt x="418" y="41"/>
                    <a:pt x="419" y="41"/>
                    <a:pt x="419" y="42"/>
                  </a:cubicBezTo>
                  <a:cubicBezTo>
                    <a:pt x="440" y="27"/>
                    <a:pt x="461" y="13"/>
                    <a:pt x="483" y="0"/>
                  </a:cubicBezTo>
                </a:path>
              </a:pathLst>
            </a:custGeom>
            <a:solidFill>
              <a:schemeClr val="accent2">
                <a:lumMod val="100000"/>
              </a:schemeClr>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26" name="Google Shape;1424;p8">
              <a:extLst>
                <a:ext uri="{FF2B5EF4-FFF2-40B4-BE49-F238E27FC236}">
                  <a16:creationId xmlns:a16="http://schemas.microsoft.com/office/drawing/2014/main" id="{59890338-A9E8-4876-9028-F31F797E6866}"/>
                </a:ext>
              </a:extLst>
            </p:cNvPr>
            <p:cNvSpPr/>
            <p:nvPr/>
          </p:nvSpPr>
          <p:spPr>
            <a:xfrm>
              <a:off x="1774395" y="2405352"/>
              <a:ext cx="34239" cy="17864"/>
            </a:xfrm>
            <a:custGeom>
              <a:avLst/>
              <a:gdLst/>
              <a:ahLst/>
              <a:cxnLst/>
              <a:rect l="l" t="t" r="r" b="b"/>
              <a:pathLst>
                <a:path w="26" h="14" extrusionOk="0">
                  <a:moveTo>
                    <a:pt x="26" y="0"/>
                  </a:moveTo>
                  <a:cubicBezTo>
                    <a:pt x="18" y="0"/>
                    <a:pt x="18" y="0"/>
                    <a:pt x="18" y="0"/>
                  </a:cubicBezTo>
                  <a:cubicBezTo>
                    <a:pt x="12" y="5"/>
                    <a:pt x="6" y="9"/>
                    <a:pt x="0" y="14"/>
                  </a:cubicBezTo>
                  <a:cubicBezTo>
                    <a:pt x="9" y="14"/>
                    <a:pt x="9" y="14"/>
                    <a:pt x="9" y="14"/>
                  </a:cubicBezTo>
                  <a:cubicBezTo>
                    <a:pt x="14" y="9"/>
                    <a:pt x="20" y="5"/>
                    <a:pt x="26" y="0"/>
                  </a:cubicBezTo>
                </a:path>
              </a:pathLst>
            </a:custGeom>
            <a:solidFill>
              <a:srgbClr val="38686A"/>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27" name="Google Shape;1425;p8">
              <a:extLst>
                <a:ext uri="{FF2B5EF4-FFF2-40B4-BE49-F238E27FC236}">
                  <a16:creationId xmlns:a16="http://schemas.microsoft.com/office/drawing/2014/main" id="{A1935E23-E21C-46A8-BFAB-83BA41A94853}"/>
                </a:ext>
              </a:extLst>
            </p:cNvPr>
            <p:cNvSpPr/>
            <p:nvPr/>
          </p:nvSpPr>
          <p:spPr>
            <a:xfrm>
              <a:off x="1798214" y="2356229"/>
              <a:ext cx="71452" cy="49124"/>
            </a:xfrm>
            <a:custGeom>
              <a:avLst/>
              <a:gdLst/>
              <a:ahLst/>
              <a:cxnLst/>
              <a:rect l="l" t="t" r="r" b="b"/>
              <a:pathLst>
                <a:path w="56" h="39" extrusionOk="0">
                  <a:moveTo>
                    <a:pt x="54" y="0"/>
                  </a:moveTo>
                  <a:cubicBezTo>
                    <a:pt x="35" y="13"/>
                    <a:pt x="17" y="25"/>
                    <a:pt x="0" y="39"/>
                  </a:cubicBezTo>
                  <a:cubicBezTo>
                    <a:pt x="8" y="39"/>
                    <a:pt x="8" y="39"/>
                    <a:pt x="8" y="39"/>
                  </a:cubicBezTo>
                  <a:cubicBezTo>
                    <a:pt x="23" y="26"/>
                    <a:pt x="40" y="14"/>
                    <a:pt x="56" y="2"/>
                  </a:cubicBezTo>
                  <a:cubicBezTo>
                    <a:pt x="56" y="1"/>
                    <a:pt x="55" y="1"/>
                    <a:pt x="54" y="0"/>
                  </a:cubicBezTo>
                </a:path>
              </a:pathLst>
            </a:custGeom>
            <a:solidFill>
              <a:srgbClr val="B2B2B2"/>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28" name="Google Shape;1426;p8">
              <a:extLst>
                <a:ext uri="{FF2B5EF4-FFF2-40B4-BE49-F238E27FC236}">
                  <a16:creationId xmlns:a16="http://schemas.microsoft.com/office/drawing/2014/main" id="{9D7A5916-1CD1-41D5-A189-BCF626CB0541}"/>
                </a:ext>
              </a:extLst>
            </p:cNvPr>
            <p:cNvSpPr/>
            <p:nvPr/>
          </p:nvSpPr>
          <p:spPr>
            <a:xfrm>
              <a:off x="1369502" y="2137407"/>
              <a:ext cx="2381735" cy="2383224"/>
            </a:xfrm>
            <a:prstGeom prst="ellipse">
              <a:avLst/>
            </a:prstGeom>
            <a:solidFill>
              <a:schemeClr val="lt1"/>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29" name="Google Shape;1427;p8">
              <a:extLst>
                <a:ext uri="{FF2B5EF4-FFF2-40B4-BE49-F238E27FC236}">
                  <a16:creationId xmlns:a16="http://schemas.microsoft.com/office/drawing/2014/main" id="{657FCBAD-88D5-4AA3-8914-2F4F97D73731}"/>
                </a:ext>
              </a:extLst>
            </p:cNvPr>
            <p:cNvSpPr/>
            <p:nvPr/>
          </p:nvSpPr>
          <p:spPr>
            <a:xfrm>
              <a:off x="2652660" y="2141873"/>
              <a:ext cx="1100064" cy="1268273"/>
            </a:xfrm>
            <a:custGeom>
              <a:avLst/>
              <a:gdLst/>
              <a:ahLst/>
              <a:cxnLst/>
              <a:rect l="l" t="t" r="r" b="b"/>
              <a:pathLst>
                <a:path w="859" h="991" extrusionOk="0">
                  <a:moveTo>
                    <a:pt x="445" y="154"/>
                  </a:moveTo>
                  <a:cubicBezTo>
                    <a:pt x="444" y="154"/>
                    <a:pt x="444" y="154"/>
                    <a:pt x="444" y="154"/>
                  </a:cubicBezTo>
                  <a:cubicBezTo>
                    <a:pt x="693" y="321"/>
                    <a:pt x="858" y="605"/>
                    <a:pt x="858" y="928"/>
                  </a:cubicBezTo>
                  <a:cubicBezTo>
                    <a:pt x="858" y="949"/>
                    <a:pt x="857" y="970"/>
                    <a:pt x="855" y="991"/>
                  </a:cubicBezTo>
                  <a:cubicBezTo>
                    <a:pt x="856" y="990"/>
                    <a:pt x="856" y="990"/>
                    <a:pt x="857" y="990"/>
                  </a:cubicBezTo>
                  <a:cubicBezTo>
                    <a:pt x="858" y="969"/>
                    <a:pt x="859" y="949"/>
                    <a:pt x="859" y="928"/>
                  </a:cubicBezTo>
                  <a:cubicBezTo>
                    <a:pt x="859" y="605"/>
                    <a:pt x="694" y="321"/>
                    <a:pt x="445" y="154"/>
                  </a:cubicBezTo>
                  <a:moveTo>
                    <a:pt x="0" y="0"/>
                  </a:moveTo>
                  <a:cubicBezTo>
                    <a:pt x="127" y="10"/>
                    <a:pt x="247" y="45"/>
                    <a:pt x="355" y="101"/>
                  </a:cubicBezTo>
                  <a:cubicBezTo>
                    <a:pt x="355" y="101"/>
                    <a:pt x="355" y="101"/>
                    <a:pt x="356" y="101"/>
                  </a:cubicBezTo>
                  <a:cubicBezTo>
                    <a:pt x="248" y="45"/>
                    <a:pt x="127" y="10"/>
                    <a:pt x="0" y="0"/>
                  </a:cubicBezTo>
                </a:path>
              </a:pathLst>
            </a:custGeom>
            <a:solidFill>
              <a:srgbClr val="81C7CA"/>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30" name="Google Shape;1428;p8">
              <a:extLst>
                <a:ext uri="{FF2B5EF4-FFF2-40B4-BE49-F238E27FC236}">
                  <a16:creationId xmlns:a16="http://schemas.microsoft.com/office/drawing/2014/main" id="{D5B76648-5FBE-4888-A139-F418B9260E91}"/>
                </a:ext>
              </a:extLst>
            </p:cNvPr>
            <p:cNvSpPr/>
            <p:nvPr/>
          </p:nvSpPr>
          <p:spPr>
            <a:xfrm>
              <a:off x="3201948" y="2326458"/>
              <a:ext cx="20840" cy="13397"/>
            </a:xfrm>
            <a:custGeom>
              <a:avLst/>
              <a:gdLst/>
              <a:ahLst/>
              <a:cxnLst/>
              <a:rect l="l" t="t" r="r" b="b"/>
              <a:pathLst>
                <a:path w="16" h="10" extrusionOk="0">
                  <a:moveTo>
                    <a:pt x="1" y="0"/>
                  </a:moveTo>
                  <a:cubicBezTo>
                    <a:pt x="0" y="0"/>
                    <a:pt x="0" y="0"/>
                    <a:pt x="0" y="0"/>
                  </a:cubicBezTo>
                  <a:cubicBezTo>
                    <a:pt x="5" y="3"/>
                    <a:pt x="10" y="7"/>
                    <a:pt x="15" y="10"/>
                  </a:cubicBezTo>
                  <a:cubicBezTo>
                    <a:pt x="16" y="10"/>
                    <a:pt x="16" y="10"/>
                    <a:pt x="16" y="10"/>
                  </a:cubicBezTo>
                  <a:cubicBezTo>
                    <a:pt x="11" y="7"/>
                    <a:pt x="6" y="4"/>
                    <a:pt x="1" y="0"/>
                  </a:cubicBezTo>
                </a:path>
              </a:pathLst>
            </a:custGeom>
            <a:solidFill>
              <a:srgbClr val="71A9AC"/>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31" name="Google Shape;1429;p8">
              <a:extLst>
                <a:ext uri="{FF2B5EF4-FFF2-40B4-BE49-F238E27FC236}">
                  <a16:creationId xmlns:a16="http://schemas.microsoft.com/office/drawing/2014/main" id="{2C3DFA2C-DC9C-477B-9926-BF1926ACF26E}"/>
                </a:ext>
              </a:extLst>
            </p:cNvPr>
            <p:cNvSpPr/>
            <p:nvPr/>
          </p:nvSpPr>
          <p:spPr>
            <a:xfrm>
              <a:off x="3106679" y="2271380"/>
              <a:ext cx="96759" cy="55077"/>
            </a:xfrm>
            <a:custGeom>
              <a:avLst/>
              <a:gdLst/>
              <a:ahLst/>
              <a:cxnLst/>
              <a:rect l="l" t="t" r="r" b="b"/>
              <a:pathLst>
                <a:path w="75" h="43" extrusionOk="0">
                  <a:moveTo>
                    <a:pt x="1" y="0"/>
                  </a:moveTo>
                  <a:cubicBezTo>
                    <a:pt x="0" y="0"/>
                    <a:pt x="0" y="0"/>
                    <a:pt x="0" y="0"/>
                  </a:cubicBezTo>
                  <a:cubicBezTo>
                    <a:pt x="26" y="14"/>
                    <a:pt x="50" y="28"/>
                    <a:pt x="74" y="43"/>
                  </a:cubicBezTo>
                  <a:cubicBezTo>
                    <a:pt x="75" y="43"/>
                    <a:pt x="75" y="43"/>
                    <a:pt x="75" y="43"/>
                  </a:cubicBezTo>
                  <a:cubicBezTo>
                    <a:pt x="51" y="28"/>
                    <a:pt x="26" y="13"/>
                    <a:pt x="1" y="0"/>
                  </a:cubicBezTo>
                </a:path>
              </a:pathLst>
            </a:custGeom>
            <a:solidFill>
              <a:srgbClr val="FFFFFF"/>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32" name="Google Shape;1430;p8">
              <a:extLst>
                <a:ext uri="{FF2B5EF4-FFF2-40B4-BE49-F238E27FC236}">
                  <a16:creationId xmlns:a16="http://schemas.microsoft.com/office/drawing/2014/main" id="{84B7D8CB-6EB6-4542-B530-A312CC7C9916}"/>
                </a:ext>
              </a:extLst>
            </p:cNvPr>
            <p:cNvSpPr/>
            <p:nvPr/>
          </p:nvSpPr>
          <p:spPr>
            <a:xfrm>
              <a:off x="3391000" y="3676606"/>
              <a:ext cx="308137" cy="506119"/>
            </a:xfrm>
            <a:custGeom>
              <a:avLst/>
              <a:gdLst/>
              <a:ahLst/>
              <a:cxnLst/>
              <a:rect l="l" t="t" r="r" b="b"/>
              <a:pathLst>
                <a:path w="241" h="395" extrusionOk="0">
                  <a:moveTo>
                    <a:pt x="241" y="0"/>
                  </a:moveTo>
                  <a:cubicBezTo>
                    <a:pt x="240" y="0"/>
                    <a:pt x="240" y="0"/>
                    <a:pt x="240" y="0"/>
                  </a:cubicBezTo>
                  <a:cubicBezTo>
                    <a:pt x="197" y="143"/>
                    <a:pt x="120" y="271"/>
                    <a:pt x="19" y="375"/>
                  </a:cubicBezTo>
                  <a:cubicBezTo>
                    <a:pt x="13" y="382"/>
                    <a:pt x="7" y="388"/>
                    <a:pt x="0" y="395"/>
                  </a:cubicBezTo>
                  <a:cubicBezTo>
                    <a:pt x="111" y="287"/>
                    <a:pt x="195" y="152"/>
                    <a:pt x="241" y="0"/>
                  </a:cubicBezTo>
                </a:path>
              </a:pathLst>
            </a:custGeom>
            <a:solidFill>
              <a:srgbClr val="81C7CA"/>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33" name="Google Shape;1431;p8">
              <a:extLst>
                <a:ext uri="{FF2B5EF4-FFF2-40B4-BE49-F238E27FC236}">
                  <a16:creationId xmlns:a16="http://schemas.microsoft.com/office/drawing/2014/main" id="{79660F26-A97F-42A4-A5D9-7F4174689C8F}"/>
                </a:ext>
              </a:extLst>
            </p:cNvPr>
            <p:cNvSpPr/>
            <p:nvPr/>
          </p:nvSpPr>
          <p:spPr>
            <a:xfrm>
              <a:off x="1708897" y="2137408"/>
              <a:ext cx="2042339" cy="2020009"/>
            </a:xfrm>
            <a:custGeom>
              <a:avLst/>
              <a:gdLst/>
              <a:ahLst/>
              <a:cxnLst/>
              <a:rect l="l" t="t" r="r" b="b"/>
              <a:pathLst>
                <a:path w="1596" h="1577" extrusionOk="0">
                  <a:moveTo>
                    <a:pt x="1555" y="1202"/>
                  </a:moveTo>
                  <a:cubicBezTo>
                    <a:pt x="1544" y="1202"/>
                    <a:pt x="1544" y="1202"/>
                    <a:pt x="1544" y="1202"/>
                  </a:cubicBezTo>
                  <a:cubicBezTo>
                    <a:pt x="1504" y="1344"/>
                    <a:pt x="1431" y="1472"/>
                    <a:pt x="1334" y="1577"/>
                  </a:cubicBezTo>
                  <a:cubicBezTo>
                    <a:pt x="1435" y="1473"/>
                    <a:pt x="1512" y="1345"/>
                    <a:pt x="1555" y="1202"/>
                  </a:cubicBezTo>
                  <a:moveTo>
                    <a:pt x="666" y="0"/>
                  </a:moveTo>
                  <a:cubicBezTo>
                    <a:pt x="405" y="0"/>
                    <a:pt x="169" y="108"/>
                    <a:pt x="0" y="281"/>
                  </a:cubicBezTo>
                  <a:cubicBezTo>
                    <a:pt x="167" y="118"/>
                    <a:pt x="397" y="17"/>
                    <a:pt x="649" y="17"/>
                  </a:cubicBezTo>
                  <a:cubicBezTo>
                    <a:pt x="1163" y="17"/>
                    <a:pt x="1580" y="434"/>
                    <a:pt x="1580" y="948"/>
                  </a:cubicBezTo>
                  <a:cubicBezTo>
                    <a:pt x="1580" y="969"/>
                    <a:pt x="1579" y="990"/>
                    <a:pt x="1578" y="1010"/>
                  </a:cubicBezTo>
                  <a:cubicBezTo>
                    <a:pt x="1582" y="1004"/>
                    <a:pt x="1588" y="999"/>
                    <a:pt x="1593" y="994"/>
                  </a:cubicBezTo>
                  <a:cubicBezTo>
                    <a:pt x="1595" y="973"/>
                    <a:pt x="1596" y="952"/>
                    <a:pt x="1596" y="931"/>
                  </a:cubicBezTo>
                  <a:cubicBezTo>
                    <a:pt x="1596" y="608"/>
                    <a:pt x="1431" y="324"/>
                    <a:pt x="1182" y="157"/>
                  </a:cubicBezTo>
                  <a:cubicBezTo>
                    <a:pt x="1177" y="154"/>
                    <a:pt x="1172" y="150"/>
                    <a:pt x="1167" y="147"/>
                  </a:cubicBezTo>
                  <a:cubicBezTo>
                    <a:pt x="1143" y="132"/>
                    <a:pt x="1119" y="118"/>
                    <a:pt x="1093" y="104"/>
                  </a:cubicBezTo>
                  <a:cubicBezTo>
                    <a:pt x="985" y="48"/>
                    <a:pt x="865" y="13"/>
                    <a:pt x="738" y="3"/>
                  </a:cubicBezTo>
                  <a:cubicBezTo>
                    <a:pt x="714" y="1"/>
                    <a:pt x="690" y="0"/>
                    <a:pt x="666" y="0"/>
                  </a:cubicBezTo>
                </a:path>
              </a:pathLst>
            </a:custGeom>
            <a:solidFill>
              <a:schemeClr val="accent2">
                <a:lumMod val="100000"/>
              </a:schemeClr>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34" name="Shape3_20220719_154026">
              <a:extLst>
                <a:ext uri="{FF2B5EF4-FFF2-40B4-BE49-F238E27FC236}">
                  <a16:creationId xmlns:a16="http://schemas.microsoft.com/office/drawing/2014/main" id="{02BF2AB5-C343-471D-BDA6-326903E4DAF3}"/>
                </a:ext>
              </a:extLst>
            </p:cNvPr>
            <p:cNvSpPr/>
            <p:nvPr/>
          </p:nvSpPr>
          <p:spPr>
            <a:xfrm>
              <a:off x="3699136" y="3372933"/>
              <a:ext cx="562685" cy="303671"/>
            </a:xfrm>
            <a:custGeom>
              <a:avLst/>
              <a:gdLst/>
              <a:ahLst/>
              <a:cxnLst/>
              <a:rect l="l" t="t" r="r" b="b"/>
              <a:pathLst>
                <a:path w="439" h="236" extrusionOk="0">
                  <a:moveTo>
                    <a:pt x="115" y="0"/>
                  </a:moveTo>
                  <a:cubicBezTo>
                    <a:pt x="91" y="0"/>
                    <a:pt x="68" y="7"/>
                    <a:pt x="48" y="21"/>
                  </a:cubicBezTo>
                  <a:cubicBezTo>
                    <a:pt x="45" y="23"/>
                    <a:pt x="42" y="25"/>
                    <a:pt x="39" y="28"/>
                  </a:cubicBezTo>
                  <a:cubicBezTo>
                    <a:pt x="34" y="100"/>
                    <a:pt x="21" y="170"/>
                    <a:pt x="0" y="237"/>
                  </a:cubicBezTo>
                  <a:cubicBezTo>
                    <a:pt x="431" y="237"/>
                    <a:pt x="431" y="237"/>
                    <a:pt x="431" y="237"/>
                  </a:cubicBezTo>
                  <a:cubicBezTo>
                    <a:pt x="431" y="236"/>
                    <a:pt x="431" y="236"/>
                    <a:pt x="431" y="236"/>
                  </a:cubicBezTo>
                  <a:cubicBezTo>
                    <a:pt x="435" y="228"/>
                    <a:pt x="437" y="219"/>
                    <a:pt x="437" y="210"/>
                  </a:cubicBezTo>
                  <a:cubicBezTo>
                    <a:pt x="439" y="175"/>
                    <a:pt x="412" y="143"/>
                    <a:pt x="377" y="138"/>
                  </a:cubicBezTo>
                  <a:cubicBezTo>
                    <a:pt x="374" y="137"/>
                    <a:pt x="370" y="137"/>
                    <a:pt x="367" y="137"/>
                  </a:cubicBezTo>
                  <a:cubicBezTo>
                    <a:pt x="346" y="137"/>
                    <a:pt x="326" y="146"/>
                    <a:pt x="313" y="162"/>
                  </a:cubicBezTo>
                  <a:cubicBezTo>
                    <a:pt x="301" y="139"/>
                    <a:pt x="277" y="124"/>
                    <a:pt x="251" y="124"/>
                  </a:cubicBezTo>
                  <a:cubicBezTo>
                    <a:pt x="245" y="124"/>
                    <a:pt x="239" y="125"/>
                    <a:pt x="234" y="126"/>
                  </a:cubicBezTo>
                  <a:cubicBezTo>
                    <a:pt x="234" y="124"/>
                    <a:pt x="234" y="121"/>
                    <a:pt x="234" y="118"/>
                  </a:cubicBezTo>
                  <a:cubicBezTo>
                    <a:pt x="234" y="53"/>
                    <a:pt x="181" y="0"/>
                    <a:pt x="115" y="0"/>
                  </a:cubicBezTo>
                </a:path>
              </a:pathLst>
            </a:custGeom>
            <a:solidFill>
              <a:schemeClr val="bg2">
                <a:lumMod val="90000"/>
              </a:schemeClr>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35" name="Shape0_20220719_154026">
              <a:extLst>
                <a:ext uri="{FF2B5EF4-FFF2-40B4-BE49-F238E27FC236}">
                  <a16:creationId xmlns:a16="http://schemas.microsoft.com/office/drawing/2014/main" id="{9D3C1B8C-A74F-4CD6-89E9-210826319EBE}"/>
                </a:ext>
              </a:extLst>
            </p:cNvPr>
            <p:cNvSpPr/>
            <p:nvPr/>
          </p:nvSpPr>
          <p:spPr>
            <a:xfrm>
              <a:off x="3471383" y="3430989"/>
              <a:ext cx="256037" cy="245617"/>
            </a:xfrm>
            <a:custGeom>
              <a:avLst/>
              <a:gdLst/>
              <a:ahLst/>
              <a:cxnLst/>
              <a:rect l="l" t="t" r="r" b="b"/>
              <a:pathLst>
                <a:path w="200" h="192" extrusionOk="0">
                  <a:moveTo>
                    <a:pt x="200" y="0"/>
                  </a:moveTo>
                  <a:cubicBezTo>
                    <a:pt x="193" y="9"/>
                    <a:pt x="188" y="18"/>
                    <a:pt x="183" y="28"/>
                  </a:cubicBezTo>
                  <a:cubicBezTo>
                    <a:pt x="182" y="28"/>
                    <a:pt x="180" y="28"/>
                    <a:pt x="179" y="28"/>
                  </a:cubicBezTo>
                  <a:cubicBezTo>
                    <a:pt x="157" y="28"/>
                    <a:pt x="137" y="34"/>
                    <a:pt x="120" y="47"/>
                  </a:cubicBezTo>
                  <a:cubicBezTo>
                    <a:pt x="104" y="59"/>
                    <a:pt x="92" y="76"/>
                    <a:pt x="85" y="95"/>
                  </a:cubicBezTo>
                  <a:cubicBezTo>
                    <a:pt x="82" y="95"/>
                    <a:pt x="78" y="94"/>
                    <a:pt x="75" y="94"/>
                  </a:cubicBezTo>
                  <a:cubicBezTo>
                    <a:pt x="34" y="94"/>
                    <a:pt x="0" y="128"/>
                    <a:pt x="0" y="169"/>
                  </a:cubicBezTo>
                  <a:cubicBezTo>
                    <a:pt x="0" y="176"/>
                    <a:pt x="1" y="184"/>
                    <a:pt x="4" y="191"/>
                  </a:cubicBezTo>
                  <a:cubicBezTo>
                    <a:pt x="4" y="192"/>
                    <a:pt x="4" y="192"/>
                    <a:pt x="4" y="192"/>
                  </a:cubicBezTo>
                  <a:cubicBezTo>
                    <a:pt x="166" y="192"/>
                    <a:pt x="166" y="192"/>
                    <a:pt x="166" y="192"/>
                  </a:cubicBezTo>
                  <a:cubicBezTo>
                    <a:pt x="184" y="131"/>
                    <a:pt x="195" y="66"/>
                    <a:pt x="200" y="0"/>
                  </a:cubicBezTo>
                </a:path>
              </a:pathLst>
            </a:custGeom>
            <a:solidFill>
              <a:schemeClr val="bg2">
                <a:lumMod val="90000"/>
              </a:schemeClr>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cs typeface="Helvetica"/>
                <a:sym typeface="Helvetica"/>
              </a:endParaRPr>
            </a:p>
          </p:txBody>
        </p:sp>
        <p:sp>
          <p:nvSpPr>
            <p:cNvPr id="336" name="Google Shape;1434;p8">
              <a:extLst>
                <a:ext uri="{FF2B5EF4-FFF2-40B4-BE49-F238E27FC236}">
                  <a16:creationId xmlns:a16="http://schemas.microsoft.com/office/drawing/2014/main" id="{A83B4FCE-F9EA-4470-AB2F-27EAEED37D1E}"/>
                </a:ext>
              </a:extLst>
            </p:cNvPr>
            <p:cNvSpPr/>
            <p:nvPr/>
          </p:nvSpPr>
          <p:spPr>
            <a:xfrm>
              <a:off x="3699137" y="3410148"/>
              <a:ext cx="50612" cy="266457"/>
            </a:xfrm>
            <a:custGeom>
              <a:avLst/>
              <a:gdLst/>
              <a:ahLst/>
              <a:cxnLst/>
              <a:rect l="l" t="t" r="r" b="b"/>
              <a:pathLst>
                <a:path w="40" h="209" extrusionOk="0">
                  <a:moveTo>
                    <a:pt x="40" y="0"/>
                  </a:moveTo>
                  <a:cubicBezTo>
                    <a:pt x="39" y="0"/>
                    <a:pt x="39" y="0"/>
                    <a:pt x="38" y="1"/>
                  </a:cubicBezTo>
                  <a:cubicBezTo>
                    <a:pt x="34" y="73"/>
                    <a:pt x="21" y="143"/>
                    <a:pt x="0" y="209"/>
                  </a:cubicBezTo>
                  <a:cubicBezTo>
                    <a:pt x="1" y="209"/>
                    <a:pt x="1" y="209"/>
                    <a:pt x="1" y="209"/>
                  </a:cubicBezTo>
                  <a:cubicBezTo>
                    <a:pt x="22" y="142"/>
                    <a:pt x="35" y="72"/>
                    <a:pt x="40" y="0"/>
                  </a:cubicBezTo>
                </a:path>
              </a:pathLst>
            </a:custGeom>
            <a:solidFill>
              <a:srgbClr val="679FA1"/>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37" name="Google Shape;1435;p8">
              <a:extLst>
                <a:ext uri="{FF2B5EF4-FFF2-40B4-BE49-F238E27FC236}">
                  <a16:creationId xmlns:a16="http://schemas.microsoft.com/office/drawing/2014/main" id="{F02D3722-FB03-474D-8305-839A6C1D6DE7}"/>
                </a:ext>
              </a:extLst>
            </p:cNvPr>
            <p:cNvSpPr/>
            <p:nvPr/>
          </p:nvSpPr>
          <p:spPr>
            <a:xfrm>
              <a:off x="3684252" y="3410148"/>
              <a:ext cx="62521" cy="266457"/>
            </a:xfrm>
            <a:custGeom>
              <a:avLst/>
              <a:gdLst/>
              <a:ahLst/>
              <a:cxnLst/>
              <a:rect l="l" t="t" r="r" b="b"/>
              <a:pathLst>
                <a:path w="49" h="208" extrusionOk="0">
                  <a:moveTo>
                    <a:pt x="49" y="0"/>
                  </a:moveTo>
                  <a:cubicBezTo>
                    <a:pt x="44" y="5"/>
                    <a:pt x="38" y="10"/>
                    <a:pt x="34" y="16"/>
                  </a:cubicBezTo>
                  <a:cubicBezTo>
                    <a:pt x="29" y="82"/>
                    <a:pt x="18" y="147"/>
                    <a:pt x="0" y="208"/>
                  </a:cubicBezTo>
                  <a:cubicBezTo>
                    <a:pt x="11" y="208"/>
                    <a:pt x="11" y="208"/>
                    <a:pt x="11" y="208"/>
                  </a:cubicBezTo>
                  <a:cubicBezTo>
                    <a:pt x="32" y="142"/>
                    <a:pt x="45" y="72"/>
                    <a:pt x="49" y="0"/>
                  </a:cubicBezTo>
                </a:path>
              </a:pathLst>
            </a:custGeom>
            <a:solidFill>
              <a:schemeClr val="accent2">
                <a:lumMod val="100000"/>
              </a:schemeClr>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38" name="Google Shape;1436;p8">
              <a:extLst>
                <a:ext uri="{FF2B5EF4-FFF2-40B4-BE49-F238E27FC236}">
                  <a16:creationId xmlns:a16="http://schemas.microsoft.com/office/drawing/2014/main" id="{B4AC7275-2D21-4EEC-9AA6-BC3E9AA68FBF}"/>
                </a:ext>
              </a:extLst>
            </p:cNvPr>
            <p:cNvSpPr/>
            <p:nvPr/>
          </p:nvSpPr>
          <p:spPr>
            <a:xfrm>
              <a:off x="3547301" y="3343161"/>
              <a:ext cx="788951" cy="303671"/>
            </a:xfrm>
            <a:custGeom>
              <a:avLst/>
              <a:gdLst/>
              <a:ahLst/>
              <a:cxnLst/>
              <a:rect l="l" t="t" r="r" b="b"/>
              <a:pathLst>
                <a:path w="616" h="236" extrusionOk="0">
                  <a:moveTo>
                    <a:pt x="555" y="138"/>
                  </a:moveTo>
                  <a:cubicBezTo>
                    <a:pt x="530" y="134"/>
                    <a:pt x="506" y="143"/>
                    <a:pt x="490" y="162"/>
                  </a:cubicBezTo>
                  <a:cubicBezTo>
                    <a:pt x="478" y="139"/>
                    <a:pt x="455" y="124"/>
                    <a:pt x="428" y="124"/>
                  </a:cubicBezTo>
                  <a:cubicBezTo>
                    <a:pt x="423" y="124"/>
                    <a:pt x="417" y="125"/>
                    <a:pt x="411" y="127"/>
                  </a:cubicBezTo>
                  <a:cubicBezTo>
                    <a:pt x="411" y="124"/>
                    <a:pt x="411" y="121"/>
                    <a:pt x="411" y="119"/>
                  </a:cubicBezTo>
                  <a:cubicBezTo>
                    <a:pt x="411" y="53"/>
                    <a:pt x="358" y="0"/>
                    <a:pt x="293" y="0"/>
                  </a:cubicBezTo>
                  <a:cubicBezTo>
                    <a:pt x="268" y="0"/>
                    <a:pt x="245" y="7"/>
                    <a:pt x="225" y="21"/>
                  </a:cubicBezTo>
                  <a:cubicBezTo>
                    <a:pt x="206" y="34"/>
                    <a:pt x="192" y="52"/>
                    <a:pt x="183" y="73"/>
                  </a:cubicBezTo>
                  <a:cubicBezTo>
                    <a:pt x="181" y="73"/>
                    <a:pt x="180" y="73"/>
                    <a:pt x="178" y="73"/>
                  </a:cubicBezTo>
                  <a:cubicBezTo>
                    <a:pt x="157" y="73"/>
                    <a:pt x="136" y="80"/>
                    <a:pt x="119" y="92"/>
                  </a:cubicBezTo>
                  <a:cubicBezTo>
                    <a:pt x="103" y="104"/>
                    <a:pt x="91" y="121"/>
                    <a:pt x="85" y="140"/>
                  </a:cubicBezTo>
                  <a:cubicBezTo>
                    <a:pt x="81" y="140"/>
                    <a:pt x="78" y="140"/>
                    <a:pt x="74" y="140"/>
                  </a:cubicBezTo>
                  <a:cubicBezTo>
                    <a:pt x="33" y="140"/>
                    <a:pt x="0" y="173"/>
                    <a:pt x="0" y="214"/>
                  </a:cubicBezTo>
                  <a:cubicBezTo>
                    <a:pt x="0" y="221"/>
                    <a:pt x="1" y="229"/>
                    <a:pt x="3" y="236"/>
                  </a:cubicBezTo>
                  <a:cubicBezTo>
                    <a:pt x="3" y="237"/>
                    <a:pt x="3" y="237"/>
                    <a:pt x="3" y="237"/>
                  </a:cubicBezTo>
                  <a:cubicBezTo>
                    <a:pt x="608" y="237"/>
                    <a:pt x="608" y="237"/>
                    <a:pt x="608" y="237"/>
                  </a:cubicBezTo>
                  <a:cubicBezTo>
                    <a:pt x="609" y="236"/>
                    <a:pt x="609" y="236"/>
                    <a:pt x="609" y="236"/>
                  </a:cubicBezTo>
                  <a:cubicBezTo>
                    <a:pt x="612" y="228"/>
                    <a:pt x="614" y="219"/>
                    <a:pt x="615" y="211"/>
                  </a:cubicBezTo>
                  <a:cubicBezTo>
                    <a:pt x="616" y="175"/>
                    <a:pt x="590" y="143"/>
                    <a:pt x="555" y="138"/>
                  </a:cubicBezTo>
                  <a:close/>
                </a:path>
              </a:pathLst>
            </a:custGeom>
            <a:solidFill>
              <a:srgbClr val="FFFFFF"/>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39" name="Shape4_20220719_154026">
              <a:extLst>
                <a:ext uri="{FF2B5EF4-FFF2-40B4-BE49-F238E27FC236}">
                  <a16:creationId xmlns:a16="http://schemas.microsoft.com/office/drawing/2014/main" id="{B71311FE-F28F-407F-B66C-5E9912C19AF4}"/>
                </a:ext>
              </a:extLst>
            </p:cNvPr>
            <p:cNvSpPr/>
            <p:nvPr/>
          </p:nvSpPr>
          <p:spPr>
            <a:xfrm>
              <a:off x="638607" y="3271708"/>
              <a:ext cx="705589" cy="238173"/>
            </a:xfrm>
            <a:custGeom>
              <a:avLst/>
              <a:gdLst/>
              <a:ahLst/>
              <a:cxnLst/>
              <a:rect l="l" t="t" r="r" b="b"/>
              <a:pathLst>
                <a:path w="551" h="187" extrusionOk="0">
                  <a:moveTo>
                    <a:pt x="287" y="0"/>
                  </a:moveTo>
                  <a:cubicBezTo>
                    <a:pt x="261" y="0"/>
                    <a:pt x="236" y="9"/>
                    <a:pt x="216" y="25"/>
                  </a:cubicBezTo>
                  <a:cubicBezTo>
                    <a:pt x="198" y="41"/>
                    <a:pt x="184" y="62"/>
                    <a:pt x="179" y="86"/>
                  </a:cubicBezTo>
                  <a:cubicBezTo>
                    <a:pt x="171" y="83"/>
                    <a:pt x="162" y="81"/>
                    <a:pt x="154" y="81"/>
                  </a:cubicBezTo>
                  <a:cubicBezTo>
                    <a:pt x="131" y="81"/>
                    <a:pt x="111" y="92"/>
                    <a:pt x="99" y="110"/>
                  </a:cubicBezTo>
                  <a:cubicBezTo>
                    <a:pt x="88" y="101"/>
                    <a:pt x="75" y="96"/>
                    <a:pt x="60" y="96"/>
                  </a:cubicBezTo>
                  <a:cubicBezTo>
                    <a:pt x="27" y="96"/>
                    <a:pt x="0" y="123"/>
                    <a:pt x="0" y="157"/>
                  </a:cubicBezTo>
                  <a:cubicBezTo>
                    <a:pt x="0" y="167"/>
                    <a:pt x="2" y="177"/>
                    <a:pt x="7" y="186"/>
                  </a:cubicBezTo>
                  <a:cubicBezTo>
                    <a:pt x="7" y="187"/>
                    <a:pt x="7" y="187"/>
                    <a:pt x="7" y="187"/>
                  </a:cubicBezTo>
                  <a:cubicBezTo>
                    <a:pt x="204" y="187"/>
                    <a:pt x="204" y="187"/>
                    <a:pt x="204" y="187"/>
                  </a:cubicBezTo>
                  <a:cubicBezTo>
                    <a:pt x="204" y="186"/>
                    <a:pt x="204" y="186"/>
                    <a:pt x="204" y="186"/>
                  </a:cubicBezTo>
                  <a:cubicBezTo>
                    <a:pt x="204" y="187"/>
                    <a:pt x="204" y="187"/>
                    <a:pt x="204" y="187"/>
                  </a:cubicBezTo>
                  <a:cubicBezTo>
                    <a:pt x="551" y="187"/>
                    <a:pt x="551" y="187"/>
                    <a:pt x="551" y="187"/>
                  </a:cubicBezTo>
                  <a:cubicBezTo>
                    <a:pt x="548" y="167"/>
                    <a:pt x="546" y="148"/>
                    <a:pt x="545" y="128"/>
                  </a:cubicBezTo>
                  <a:cubicBezTo>
                    <a:pt x="535" y="122"/>
                    <a:pt x="524" y="119"/>
                    <a:pt x="512" y="119"/>
                  </a:cubicBezTo>
                  <a:cubicBezTo>
                    <a:pt x="504" y="119"/>
                    <a:pt x="495" y="120"/>
                    <a:pt x="488" y="124"/>
                  </a:cubicBezTo>
                  <a:cubicBezTo>
                    <a:pt x="475" y="98"/>
                    <a:pt x="448" y="81"/>
                    <a:pt x="419" y="81"/>
                  </a:cubicBezTo>
                  <a:cubicBezTo>
                    <a:pt x="411" y="81"/>
                    <a:pt x="403" y="82"/>
                    <a:pt x="395" y="85"/>
                  </a:cubicBezTo>
                  <a:cubicBezTo>
                    <a:pt x="389" y="61"/>
                    <a:pt x="376" y="40"/>
                    <a:pt x="357" y="25"/>
                  </a:cubicBezTo>
                  <a:cubicBezTo>
                    <a:pt x="337" y="9"/>
                    <a:pt x="312" y="0"/>
                    <a:pt x="287" y="0"/>
                  </a:cubicBezTo>
                </a:path>
              </a:pathLst>
            </a:custGeom>
            <a:solidFill>
              <a:schemeClr val="bg2">
                <a:lumMod val="90000"/>
              </a:schemeClr>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40" name="Google Shape;1438;p8">
              <a:extLst>
                <a:ext uri="{FF2B5EF4-FFF2-40B4-BE49-F238E27FC236}">
                  <a16:creationId xmlns:a16="http://schemas.microsoft.com/office/drawing/2014/main" id="{9918D295-835A-4E14-87BE-60D0CFB7754A}"/>
                </a:ext>
              </a:extLst>
            </p:cNvPr>
            <p:cNvSpPr/>
            <p:nvPr/>
          </p:nvSpPr>
          <p:spPr>
            <a:xfrm>
              <a:off x="1336752" y="3433964"/>
              <a:ext cx="44659" cy="75917"/>
            </a:xfrm>
            <a:custGeom>
              <a:avLst/>
              <a:gdLst/>
              <a:ahLst/>
              <a:cxnLst/>
              <a:rect l="l" t="t" r="r" b="b"/>
              <a:pathLst>
                <a:path w="36" h="60" extrusionOk="0">
                  <a:moveTo>
                    <a:pt x="29" y="0"/>
                  </a:moveTo>
                  <a:cubicBezTo>
                    <a:pt x="24" y="4"/>
                    <a:pt x="19" y="9"/>
                    <a:pt x="15" y="15"/>
                  </a:cubicBezTo>
                  <a:cubicBezTo>
                    <a:pt x="11" y="10"/>
                    <a:pt x="6" y="5"/>
                    <a:pt x="0" y="1"/>
                  </a:cubicBezTo>
                  <a:cubicBezTo>
                    <a:pt x="1" y="21"/>
                    <a:pt x="3" y="40"/>
                    <a:pt x="6" y="60"/>
                  </a:cubicBezTo>
                  <a:cubicBezTo>
                    <a:pt x="36" y="60"/>
                    <a:pt x="36" y="60"/>
                    <a:pt x="36" y="60"/>
                  </a:cubicBezTo>
                  <a:cubicBezTo>
                    <a:pt x="33" y="40"/>
                    <a:pt x="31" y="20"/>
                    <a:pt x="29" y="0"/>
                  </a:cubicBezTo>
                </a:path>
              </a:pathLst>
            </a:custGeom>
            <a:solidFill>
              <a:srgbClr val="38686A"/>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41" name="Shape5_20220719_154026">
              <a:extLst>
                <a:ext uri="{FF2B5EF4-FFF2-40B4-BE49-F238E27FC236}">
                  <a16:creationId xmlns:a16="http://schemas.microsoft.com/office/drawing/2014/main" id="{BD5A8C40-1A5E-4E1D-B759-01F0424245DD}"/>
                </a:ext>
              </a:extLst>
            </p:cNvPr>
            <p:cNvSpPr/>
            <p:nvPr/>
          </p:nvSpPr>
          <p:spPr>
            <a:xfrm>
              <a:off x="1372477" y="3414612"/>
              <a:ext cx="197984" cy="95269"/>
            </a:xfrm>
            <a:custGeom>
              <a:avLst/>
              <a:gdLst/>
              <a:ahLst/>
              <a:cxnLst/>
              <a:rect l="l" t="t" r="r" b="b"/>
              <a:pathLst>
                <a:path w="154" h="75" extrusionOk="0">
                  <a:moveTo>
                    <a:pt x="41" y="0"/>
                  </a:moveTo>
                  <a:cubicBezTo>
                    <a:pt x="26" y="0"/>
                    <a:pt x="12" y="6"/>
                    <a:pt x="0" y="15"/>
                  </a:cubicBezTo>
                  <a:cubicBezTo>
                    <a:pt x="2" y="35"/>
                    <a:pt x="4" y="55"/>
                    <a:pt x="7" y="75"/>
                  </a:cubicBezTo>
                  <a:cubicBezTo>
                    <a:pt x="154" y="75"/>
                    <a:pt x="154" y="75"/>
                    <a:pt x="154" y="75"/>
                  </a:cubicBezTo>
                  <a:cubicBezTo>
                    <a:pt x="154" y="73"/>
                    <a:pt x="154" y="73"/>
                    <a:pt x="154" y="73"/>
                  </a:cubicBezTo>
                  <a:cubicBezTo>
                    <a:pt x="154" y="50"/>
                    <a:pt x="135" y="32"/>
                    <a:pt x="113" y="32"/>
                  </a:cubicBezTo>
                  <a:cubicBezTo>
                    <a:pt x="108" y="32"/>
                    <a:pt x="103" y="33"/>
                    <a:pt x="99" y="34"/>
                  </a:cubicBezTo>
                  <a:cubicBezTo>
                    <a:pt x="87" y="13"/>
                    <a:pt x="65" y="0"/>
                    <a:pt x="41" y="0"/>
                  </a:cubicBezTo>
                </a:path>
              </a:pathLst>
            </a:custGeom>
            <a:solidFill>
              <a:schemeClr val="bg2">
                <a:lumMod val="90000"/>
              </a:schemeClr>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cs typeface="Helvetica"/>
                <a:sym typeface="Helvetica"/>
              </a:endParaRPr>
            </a:p>
          </p:txBody>
        </p:sp>
        <p:sp>
          <p:nvSpPr>
            <p:cNvPr id="342" name="Google Shape;1440;p8">
              <a:extLst>
                <a:ext uri="{FF2B5EF4-FFF2-40B4-BE49-F238E27FC236}">
                  <a16:creationId xmlns:a16="http://schemas.microsoft.com/office/drawing/2014/main" id="{CD982DB7-364E-4795-8756-65FA3E27C827}"/>
                </a:ext>
              </a:extLst>
            </p:cNvPr>
            <p:cNvSpPr/>
            <p:nvPr/>
          </p:nvSpPr>
          <p:spPr>
            <a:xfrm>
              <a:off x="696661" y="3247891"/>
              <a:ext cx="931855" cy="238173"/>
            </a:xfrm>
            <a:custGeom>
              <a:avLst/>
              <a:gdLst/>
              <a:ahLst/>
              <a:cxnLst/>
              <a:rect l="l" t="t" r="r" b="b"/>
              <a:pathLst>
                <a:path w="728" h="186" extrusionOk="0">
                  <a:moveTo>
                    <a:pt x="728" y="184"/>
                  </a:moveTo>
                  <a:cubicBezTo>
                    <a:pt x="728" y="162"/>
                    <a:pt x="710" y="143"/>
                    <a:pt x="687" y="143"/>
                  </a:cubicBezTo>
                  <a:cubicBezTo>
                    <a:pt x="683" y="143"/>
                    <a:pt x="678" y="144"/>
                    <a:pt x="674" y="146"/>
                  </a:cubicBezTo>
                  <a:cubicBezTo>
                    <a:pt x="662" y="125"/>
                    <a:pt x="640" y="112"/>
                    <a:pt x="616" y="112"/>
                  </a:cubicBezTo>
                  <a:cubicBezTo>
                    <a:pt x="594" y="112"/>
                    <a:pt x="573" y="123"/>
                    <a:pt x="560" y="142"/>
                  </a:cubicBezTo>
                  <a:cubicBezTo>
                    <a:pt x="549" y="127"/>
                    <a:pt x="532" y="118"/>
                    <a:pt x="513" y="118"/>
                  </a:cubicBezTo>
                  <a:cubicBezTo>
                    <a:pt x="504" y="118"/>
                    <a:pt x="496" y="120"/>
                    <a:pt x="488" y="123"/>
                  </a:cubicBezTo>
                  <a:cubicBezTo>
                    <a:pt x="475" y="97"/>
                    <a:pt x="449" y="80"/>
                    <a:pt x="420" y="80"/>
                  </a:cubicBezTo>
                  <a:cubicBezTo>
                    <a:pt x="411" y="80"/>
                    <a:pt x="403" y="82"/>
                    <a:pt x="395" y="84"/>
                  </a:cubicBezTo>
                  <a:cubicBezTo>
                    <a:pt x="390" y="61"/>
                    <a:pt x="376" y="40"/>
                    <a:pt x="357" y="24"/>
                  </a:cubicBezTo>
                  <a:cubicBezTo>
                    <a:pt x="338" y="9"/>
                    <a:pt x="313" y="0"/>
                    <a:pt x="287" y="0"/>
                  </a:cubicBezTo>
                  <a:cubicBezTo>
                    <a:pt x="262" y="0"/>
                    <a:pt x="237" y="9"/>
                    <a:pt x="217" y="25"/>
                  </a:cubicBezTo>
                  <a:cubicBezTo>
                    <a:pt x="198" y="40"/>
                    <a:pt x="185" y="62"/>
                    <a:pt x="179" y="85"/>
                  </a:cubicBezTo>
                  <a:cubicBezTo>
                    <a:pt x="171" y="82"/>
                    <a:pt x="163" y="80"/>
                    <a:pt x="154" y="80"/>
                  </a:cubicBezTo>
                  <a:cubicBezTo>
                    <a:pt x="132" y="80"/>
                    <a:pt x="112" y="91"/>
                    <a:pt x="100" y="110"/>
                  </a:cubicBezTo>
                  <a:cubicBezTo>
                    <a:pt x="89" y="101"/>
                    <a:pt x="75" y="96"/>
                    <a:pt x="61" y="96"/>
                  </a:cubicBezTo>
                  <a:cubicBezTo>
                    <a:pt x="27" y="96"/>
                    <a:pt x="0" y="123"/>
                    <a:pt x="0" y="156"/>
                  </a:cubicBezTo>
                  <a:cubicBezTo>
                    <a:pt x="0" y="166"/>
                    <a:pt x="3" y="176"/>
                    <a:pt x="7" y="185"/>
                  </a:cubicBezTo>
                  <a:cubicBezTo>
                    <a:pt x="8" y="186"/>
                    <a:pt x="8" y="186"/>
                    <a:pt x="8" y="186"/>
                  </a:cubicBezTo>
                  <a:cubicBezTo>
                    <a:pt x="204" y="186"/>
                    <a:pt x="204" y="186"/>
                    <a:pt x="204" y="186"/>
                  </a:cubicBezTo>
                  <a:cubicBezTo>
                    <a:pt x="205" y="186"/>
                    <a:pt x="205" y="186"/>
                    <a:pt x="205" y="186"/>
                  </a:cubicBezTo>
                  <a:cubicBezTo>
                    <a:pt x="205" y="186"/>
                    <a:pt x="205" y="186"/>
                    <a:pt x="205" y="186"/>
                  </a:cubicBezTo>
                  <a:cubicBezTo>
                    <a:pt x="728" y="186"/>
                    <a:pt x="728" y="186"/>
                    <a:pt x="728" y="186"/>
                  </a:cubicBezTo>
                  <a:lnTo>
                    <a:pt x="728" y="184"/>
                  </a:lnTo>
                  <a:close/>
                </a:path>
              </a:pathLst>
            </a:custGeom>
            <a:solidFill>
              <a:srgbClr val="FFFFFF"/>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43" name="Google Shape;1441;p8">
              <a:extLst>
                <a:ext uri="{FF2B5EF4-FFF2-40B4-BE49-F238E27FC236}">
                  <a16:creationId xmlns:a16="http://schemas.microsoft.com/office/drawing/2014/main" id="{4E6F2297-B86B-4F1E-9023-C05BE5471508}"/>
                </a:ext>
              </a:extLst>
            </p:cNvPr>
            <p:cNvSpPr/>
            <p:nvPr/>
          </p:nvSpPr>
          <p:spPr>
            <a:xfrm>
              <a:off x="3" y="4813883"/>
              <a:ext cx="5119243" cy="652000"/>
            </a:xfrm>
            <a:custGeom>
              <a:avLst/>
              <a:gdLst/>
              <a:ahLst/>
              <a:cxnLst/>
              <a:rect l="l" t="t" r="r" b="b"/>
              <a:pathLst>
                <a:path w="4000" h="509" extrusionOk="0">
                  <a:moveTo>
                    <a:pt x="0" y="42"/>
                  </a:moveTo>
                  <a:cubicBezTo>
                    <a:pt x="0" y="509"/>
                    <a:pt x="0" y="509"/>
                    <a:pt x="0" y="509"/>
                  </a:cubicBezTo>
                  <a:cubicBezTo>
                    <a:pt x="4000" y="509"/>
                    <a:pt x="4000" y="509"/>
                    <a:pt x="4000" y="509"/>
                  </a:cubicBezTo>
                  <a:cubicBezTo>
                    <a:pt x="4000" y="0"/>
                    <a:pt x="4000" y="0"/>
                    <a:pt x="4000" y="0"/>
                  </a:cubicBezTo>
                  <a:cubicBezTo>
                    <a:pt x="3928" y="36"/>
                    <a:pt x="3869" y="94"/>
                    <a:pt x="3832" y="165"/>
                  </a:cubicBezTo>
                  <a:cubicBezTo>
                    <a:pt x="3814" y="160"/>
                    <a:pt x="3796" y="158"/>
                    <a:pt x="3777" y="158"/>
                  </a:cubicBezTo>
                  <a:cubicBezTo>
                    <a:pt x="3713" y="158"/>
                    <a:pt x="3655" y="186"/>
                    <a:pt x="3615" y="230"/>
                  </a:cubicBezTo>
                  <a:cubicBezTo>
                    <a:pt x="3584" y="213"/>
                    <a:pt x="3548" y="204"/>
                    <a:pt x="3510" y="204"/>
                  </a:cubicBezTo>
                  <a:cubicBezTo>
                    <a:pt x="3494" y="204"/>
                    <a:pt x="3479" y="205"/>
                    <a:pt x="3464" y="209"/>
                  </a:cubicBezTo>
                  <a:cubicBezTo>
                    <a:pt x="3417" y="124"/>
                    <a:pt x="3327" y="67"/>
                    <a:pt x="3224" y="67"/>
                  </a:cubicBezTo>
                  <a:cubicBezTo>
                    <a:pt x="3083" y="67"/>
                    <a:pt x="2967" y="173"/>
                    <a:pt x="2952" y="310"/>
                  </a:cubicBezTo>
                  <a:cubicBezTo>
                    <a:pt x="2942" y="306"/>
                    <a:pt x="2932" y="304"/>
                    <a:pt x="2922" y="302"/>
                  </a:cubicBezTo>
                  <a:cubicBezTo>
                    <a:pt x="2867" y="238"/>
                    <a:pt x="2786" y="198"/>
                    <a:pt x="2695" y="198"/>
                  </a:cubicBezTo>
                  <a:cubicBezTo>
                    <a:pt x="2648" y="198"/>
                    <a:pt x="2603" y="209"/>
                    <a:pt x="2563" y="229"/>
                  </a:cubicBezTo>
                  <a:cubicBezTo>
                    <a:pt x="2524" y="198"/>
                    <a:pt x="2474" y="179"/>
                    <a:pt x="2420" y="179"/>
                  </a:cubicBezTo>
                  <a:cubicBezTo>
                    <a:pt x="2323" y="179"/>
                    <a:pt x="2240" y="238"/>
                    <a:pt x="2203" y="321"/>
                  </a:cubicBezTo>
                  <a:cubicBezTo>
                    <a:pt x="2179" y="311"/>
                    <a:pt x="2152" y="305"/>
                    <a:pt x="2123" y="305"/>
                  </a:cubicBezTo>
                  <a:cubicBezTo>
                    <a:pt x="2080" y="305"/>
                    <a:pt x="2039" y="319"/>
                    <a:pt x="2006" y="342"/>
                  </a:cubicBezTo>
                  <a:cubicBezTo>
                    <a:pt x="1977" y="268"/>
                    <a:pt x="1904" y="215"/>
                    <a:pt x="1820" y="215"/>
                  </a:cubicBezTo>
                  <a:cubicBezTo>
                    <a:pt x="1780" y="215"/>
                    <a:pt x="1744" y="227"/>
                    <a:pt x="1713" y="246"/>
                  </a:cubicBezTo>
                  <a:cubicBezTo>
                    <a:pt x="1659" y="168"/>
                    <a:pt x="1569" y="117"/>
                    <a:pt x="1466" y="117"/>
                  </a:cubicBezTo>
                  <a:cubicBezTo>
                    <a:pt x="1339" y="117"/>
                    <a:pt x="1230" y="197"/>
                    <a:pt x="1187" y="309"/>
                  </a:cubicBezTo>
                  <a:cubicBezTo>
                    <a:pt x="1144" y="214"/>
                    <a:pt x="1049" y="148"/>
                    <a:pt x="938" y="148"/>
                  </a:cubicBezTo>
                  <a:cubicBezTo>
                    <a:pt x="889" y="148"/>
                    <a:pt x="843" y="161"/>
                    <a:pt x="803" y="184"/>
                  </a:cubicBezTo>
                  <a:cubicBezTo>
                    <a:pt x="764" y="146"/>
                    <a:pt x="711" y="123"/>
                    <a:pt x="652" y="123"/>
                  </a:cubicBezTo>
                  <a:cubicBezTo>
                    <a:pt x="585" y="123"/>
                    <a:pt x="525" y="153"/>
                    <a:pt x="485" y="200"/>
                  </a:cubicBezTo>
                  <a:cubicBezTo>
                    <a:pt x="462" y="188"/>
                    <a:pt x="436" y="182"/>
                    <a:pt x="409" y="182"/>
                  </a:cubicBezTo>
                  <a:cubicBezTo>
                    <a:pt x="388" y="182"/>
                    <a:pt x="368" y="185"/>
                    <a:pt x="350" y="192"/>
                  </a:cubicBezTo>
                  <a:cubicBezTo>
                    <a:pt x="326" y="98"/>
                    <a:pt x="240" y="27"/>
                    <a:pt x="137" y="27"/>
                  </a:cubicBezTo>
                  <a:cubicBezTo>
                    <a:pt x="106" y="27"/>
                    <a:pt x="76" y="34"/>
                    <a:pt x="50" y="46"/>
                  </a:cubicBezTo>
                  <a:cubicBezTo>
                    <a:pt x="33" y="43"/>
                    <a:pt x="17" y="42"/>
                    <a:pt x="0" y="42"/>
                  </a:cubicBezTo>
                </a:path>
              </a:pathLst>
            </a:custGeom>
            <a:solidFill>
              <a:srgbClr val="BEDFEB"/>
            </a:solidFill>
            <a:ln>
              <a:noFill/>
            </a:ln>
            <a:effectLst/>
          </p:spPr>
          <p:txBody>
            <a:bodyPr spcFirstLastPara="1" wrap="square" lIns="68569" tIns="34275" rIns="68569" bIns="34275"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Clr>
                  <a:srgbClr val="000000"/>
                </a:buClr>
                <a:buSzPts val="1400"/>
              </a:pPr>
              <a:endParaRPr sz="1050">
                <a:solidFill>
                  <a:srgbClr val="000000"/>
                </a:solidFill>
                <a:latin typeface="Helvetica"/>
                <a:cs typeface="Helvetica"/>
                <a:sym typeface="Helvetica"/>
              </a:endParaRPr>
            </a:p>
          </p:txBody>
        </p:sp>
        <p:sp>
          <p:nvSpPr>
            <p:cNvPr id="344" name="Google Shape;1442;p8">
              <a:extLst>
                <a:ext uri="{FF2B5EF4-FFF2-40B4-BE49-F238E27FC236}">
                  <a16:creationId xmlns:a16="http://schemas.microsoft.com/office/drawing/2014/main" id="{62E295F0-BFCB-4344-866A-04EC0BEE181F}"/>
                </a:ext>
              </a:extLst>
            </p:cNvPr>
            <p:cNvSpPr/>
            <p:nvPr/>
          </p:nvSpPr>
          <p:spPr>
            <a:xfrm>
              <a:off x="3664899" y="4813883"/>
              <a:ext cx="1454347" cy="397453"/>
            </a:xfrm>
            <a:custGeom>
              <a:avLst/>
              <a:gdLst/>
              <a:ahLst/>
              <a:cxnLst/>
              <a:rect l="l" t="t" r="r" b="b"/>
              <a:pathLst>
                <a:path w="1136" h="310" extrusionOk="0">
                  <a:moveTo>
                    <a:pt x="360" y="67"/>
                  </a:moveTo>
                  <a:cubicBezTo>
                    <a:pt x="219" y="67"/>
                    <a:pt x="103" y="173"/>
                    <a:pt x="88" y="310"/>
                  </a:cubicBezTo>
                  <a:cubicBezTo>
                    <a:pt x="78" y="306"/>
                    <a:pt x="68" y="304"/>
                    <a:pt x="58" y="302"/>
                  </a:cubicBezTo>
                  <a:cubicBezTo>
                    <a:pt x="41" y="282"/>
                    <a:pt x="21" y="265"/>
                    <a:pt x="0" y="250"/>
                  </a:cubicBezTo>
                  <a:cubicBezTo>
                    <a:pt x="21" y="265"/>
                    <a:pt x="41" y="282"/>
                    <a:pt x="58" y="302"/>
                  </a:cubicBezTo>
                  <a:cubicBezTo>
                    <a:pt x="68" y="304"/>
                    <a:pt x="78" y="306"/>
                    <a:pt x="88" y="310"/>
                  </a:cubicBezTo>
                  <a:cubicBezTo>
                    <a:pt x="103" y="173"/>
                    <a:pt x="219" y="67"/>
                    <a:pt x="360" y="67"/>
                  </a:cubicBezTo>
                  <a:cubicBezTo>
                    <a:pt x="463" y="67"/>
                    <a:pt x="553" y="124"/>
                    <a:pt x="600" y="209"/>
                  </a:cubicBezTo>
                  <a:cubicBezTo>
                    <a:pt x="601" y="208"/>
                    <a:pt x="602" y="208"/>
                    <a:pt x="603" y="208"/>
                  </a:cubicBezTo>
                  <a:cubicBezTo>
                    <a:pt x="602" y="208"/>
                    <a:pt x="601" y="208"/>
                    <a:pt x="600" y="209"/>
                  </a:cubicBezTo>
                  <a:cubicBezTo>
                    <a:pt x="553" y="124"/>
                    <a:pt x="463" y="67"/>
                    <a:pt x="360" y="67"/>
                  </a:cubicBezTo>
                  <a:moveTo>
                    <a:pt x="1136" y="0"/>
                  </a:moveTo>
                  <a:cubicBezTo>
                    <a:pt x="1064" y="36"/>
                    <a:pt x="1005" y="94"/>
                    <a:pt x="968" y="165"/>
                  </a:cubicBezTo>
                  <a:cubicBezTo>
                    <a:pt x="950" y="160"/>
                    <a:pt x="932" y="158"/>
                    <a:pt x="913" y="158"/>
                  </a:cubicBezTo>
                  <a:cubicBezTo>
                    <a:pt x="849" y="158"/>
                    <a:pt x="791" y="186"/>
                    <a:pt x="751" y="230"/>
                  </a:cubicBezTo>
                  <a:cubicBezTo>
                    <a:pt x="720" y="213"/>
                    <a:pt x="684" y="204"/>
                    <a:pt x="646" y="204"/>
                  </a:cubicBezTo>
                  <a:cubicBezTo>
                    <a:pt x="646" y="204"/>
                    <a:pt x="646" y="204"/>
                    <a:pt x="646" y="204"/>
                  </a:cubicBezTo>
                  <a:cubicBezTo>
                    <a:pt x="684" y="204"/>
                    <a:pt x="720" y="213"/>
                    <a:pt x="751" y="230"/>
                  </a:cubicBezTo>
                  <a:cubicBezTo>
                    <a:pt x="791" y="186"/>
                    <a:pt x="849" y="158"/>
                    <a:pt x="913" y="158"/>
                  </a:cubicBezTo>
                  <a:cubicBezTo>
                    <a:pt x="932" y="158"/>
                    <a:pt x="950" y="160"/>
                    <a:pt x="968" y="165"/>
                  </a:cubicBezTo>
                  <a:cubicBezTo>
                    <a:pt x="1005" y="94"/>
                    <a:pt x="1064" y="36"/>
                    <a:pt x="1136" y="0"/>
                  </a:cubicBezTo>
                  <a:cubicBezTo>
                    <a:pt x="1136" y="0"/>
                    <a:pt x="1136" y="0"/>
                    <a:pt x="1136" y="0"/>
                  </a:cubicBezTo>
                </a:path>
              </a:pathLst>
            </a:custGeom>
            <a:solidFill>
              <a:srgbClr val="B2DDDF"/>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45" name="Google Shape;1443;p8">
              <a:extLst>
                <a:ext uri="{FF2B5EF4-FFF2-40B4-BE49-F238E27FC236}">
                  <a16:creationId xmlns:a16="http://schemas.microsoft.com/office/drawing/2014/main" id="{E00EE40A-0AB1-4573-A8D8-F49396155F25}"/>
                </a:ext>
              </a:extLst>
            </p:cNvPr>
            <p:cNvSpPr/>
            <p:nvPr/>
          </p:nvSpPr>
          <p:spPr>
            <a:xfrm>
              <a:off x="3" y="4813884"/>
              <a:ext cx="5119243" cy="470393"/>
            </a:xfrm>
            <a:custGeom>
              <a:avLst/>
              <a:gdLst/>
              <a:ahLst/>
              <a:cxnLst/>
              <a:rect l="l" t="t" r="r" b="b"/>
              <a:pathLst>
                <a:path w="4000" h="367" extrusionOk="0">
                  <a:moveTo>
                    <a:pt x="1150" y="248"/>
                  </a:moveTo>
                  <a:cubicBezTo>
                    <a:pt x="1138" y="260"/>
                    <a:pt x="1138" y="260"/>
                    <a:pt x="1138" y="260"/>
                  </a:cubicBezTo>
                  <a:cubicBezTo>
                    <a:pt x="1138" y="261"/>
                    <a:pt x="1139" y="261"/>
                    <a:pt x="1139" y="261"/>
                  </a:cubicBezTo>
                  <a:cubicBezTo>
                    <a:pt x="1151" y="250"/>
                    <a:pt x="1151" y="250"/>
                    <a:pt x="1151" y="250"/>
                  </a:cubicBezTo>
                  <a:cubicBezTo>
                    <a:pt x="1150" y="249"/>
                    <a:pt x="1150" y="249"/>
                    <a:pt x="1150" y="248"/>
                  </a:cubicBezTo>
                  <a:moveTo>
                    <a:pt x="339" y="162"/>
                  </a:moveTo>
                  <a:cubicBezTo>
                    <a:pt x="331" y="170"/>
                    <a:pt x="331" y="170"/>
                    <a:pt x="331" y="170"/>
                  </a:cubicBezTo>
                  <a:cubicBezTo>
                    <a:pt x="335" y="177"/>
                    <a:pt x="338" y="184"/>
                    <a:pt x="341" y="191"/>
                  </a:cubicBezTo>
                  <a:cubicBezTo>
                    <a:pt x="348" y="185"/>
                    <a:pt x="348" y="185"/>
                    <a:pt x="348" y="185"/>
                  </a:cubicBezTo>
                  <a:cubicBezTo>
                    <a:pt x="345" y="177"/>
                    <a:pt x="343" y="169"/>
                    <a:pt x="339" y="162"/>
                  </a:cubicBezTo>
                  <a:moveTo>
                    <a:pt x="1604" y="150"/>
                  </a:moveTo>
                  <a:cubicBezTo>
                    <a:pt x="1586" y="167"/>
                    <a:pt x="1586" y="167"/>
                    <a:pt x="1586" y="167"/>
                  </a:cubicBezTo>
                  <a:cubicBezTo>
                    <a:pt x="1594" y="170"/>
                    <a:pt x="1601" y="174"/>
                    <a:pt x="1608" y="178"/>
                  </a:cubicBezTo>
                  <a:cubicBezTo>
                    <a:pt x="1624" y="162"/>
                    <a:pt x="1624" y="162"/>
                    <a:pt x="1624" y="162"/>
                  </a:cubicBezTo>
                  <a:cubicBezTo>
                    <a:pt x="1617" y="157"/>
                    <a:pt x="1611" y="154"/>
                    <a:pt x="1604" y="150"/>
                  </a:cubicBezTo>
                  <a:moveTo>
                    <a:pt x="715" y="132"/>
                  </a:moveTo>
                  <a:cubicBezTo>
                    <a:pt x="695" y="152"/>
                    <a:pt x="695" y="152"/>
                    <a:pt x="695" y="152"/>
                  </a:cubicBezTo>
                  <a:cubicBezTo>
                    <a:pt x="707" y="155"/>
                    <a:pt x="719" y="158"/>
                    <a:pt x="730" y="162"/>
                  </a:cubicBezTo>
                  <a:cubicBezTo>
                    <a:pt x="747" y="145"/>
                    <a:pt x="747" y="145"/>
                    <a:pt x="747" y="145"/>
                  </a:cubicBezTo>
                  <a:cubicBezTo>
                    <a:pt x="737" y="140"/>
                    <a:pt x="726" y="135"/>
                    <a:pt x="715" y="132"/>
                  </a:cubicBezTo>
                  <a:moveTo>
                    <a:pt x="137" y="27"/>
                  </a:moveTo>
                  <a:cubicBezTo>
                    <a:pt x="106" y="27"/>
                    <a:pt x="76" y="34"/>
                    <a:pt x="50" y="46"/>
                  </a:cubicBezTo>
                  <a:cubicBezTo>
                    <a:pt x="33" y="43"/>
                    <a:pt x="17" y="42"/>
                    <a:pt x="0" y="42"/>
                  </a:cubicBezTo>
                  <a:cubicBezTo>
                    <a:pt x="0" y="67"/>
                    <a:pt x="0" y="67"/>
                    <a:pt x="0" y="67"/>
                  </a:cubicBezTo>
                  <a:cubicBezTo>
                    <a:pt x="17" y="67"/>
                    <a:pt x="33" y="69"/>
                    <a:pt x="50" y="71"/>
                  </a:cubicBezTo>
                  <a:cubicBezTo>
                    <a:pt x="76" y="59"/>
                    <a:pt x="106" y="53"/>
                    <a:pt x="137" y="53"/>
                  </a:cubicBezTo>
                  <a:cubicBezTo>
                    <a:pt x="167" y="53"/>
                    <a:pt x="194" y="59"/>
                    <a:pt x="220" y="69"/>
                  </a:cubicBezTo>
                  <a:cubicBezTo>
                    <a:pt x="237" y="51"/>
                    <a:pt x="237" y="51"/>
                    <a:pt x="237" y="51"/>
                  </a:cubicBezTo>
                  <a:cubicBezTo>
                    <a:pt x="207" y="36"/>
                    <a:pt x="173" y="27"/>
                    <a:pt x="137" y="27"/>
                  </a:cubicBezTo>
                  <a:moveTo>
                    <a:pt x="4000" y="0"/>
                  </a:moveTo>
                  <a:cubicBezTo>
                    <a:pt x="4000" y="0"/>
                    <a:pt x="4000" y="0"/>
                    <a:pt x="4000" y="0"/>
                  </a:cubicBezTo>
                  <a:cubicBezTo>
                    <a:pt x="3928" y="36"/>
                    <a:pt x="3869" y="94"/>
                    <a:pt x="3832" y="165"/>
                  </a:cubicBezTo>
                  <a:cubicBezTo>
                    <a:pt x="3814" y="160"/>
                    <a:pt x="3796" y="158"/>
                    <a:pt x="3777" y="158"/>
                  </a:cubicBezTo>
                  <a:cubicBezTo>
                    <a:pt x="3713" y="158"/>
                    <a:pt x="3655" y="186"/>
                    <a:pt x="3615" y="230"/>
                  </a:cubicBezTo>
                  <a:cubicBezTo>
                    <a:pt x="3584" y="213"/>
                    <a:pt x="3548" y="204"/>
                    <a:pt x="3510" y="204"/>
                  </a:cubicBezTo>
                  <a:cubicBezTo>
                    <a:pt x="3495" y="204"/>
                    <a:pt x="3481" y="205"/>
                    <a:pt x="3467" y="208"/>
                  </a:cubicBezTo>
                  <a:cubicBezTo>
                    <a:pt x="3466" y="208"/>
                    <a:pt x="3465" y="208"/>
                    <a:pt x="3464" y="209"/>
                  </a:cubicBezTo>
                  <a:cubicBezTo>
                    <a:pt x="3417" y="124"/>
                    <a:pt x="3327" y="67"/>
                    <a:pt x="3224" y="67"/>
                  </a:cubicBezTo>
                  <a:cubicBezTo>
                    <a:pt x="3083" y="67"/>
                    <a:pt x="2967" y="173"/>
                    <a:pt x="2952" y="310"/>
                  </a:cubicBezTo>
                  <a:cubicBezTo>
                    <a:pt x="2942" y="306"/>
                    <a:pt x="2932" y="304"/>
                    <a:pt x="2922" y="302"/>
                  </a:cubicBezTo>
                  <a:cubicBezTo>
                    <a:pt x="2905" y="282"/>
                    <a:pt x="2885" y="265"/>
                    <a:pt x="2864" y="250"/>
                  </a:cubicBezTo>
                  <a:cubicBezTo>
                    <a:pt x="2816" y="217"/>
                    <a:pt x="2758" y="198"/>
                    <a:pt x="2695" y="198"/>
                  </a:cubicBezTo>
                  <a:cubicBezTo>
                    <a:pt x="2649" y="198"/>
                    <a:pt x="2604" y="209"/>
                    <a:pt x="2565" y="228"/>
                  </a:cubicBezTo>
                  <a:cubicBezTo>
                    <a:pt x="2564" y="228"/>
                    <a:pt x="2564" y="228"/>
                    <a:pt x="2563" y="229"/>
                  </a:cubicBezTo>
                  <a:cubicBezTo>
                    <a:pt x="2524" y="198"/>
                    <a:pt x="2474" y="179"/>
                    <a:pt x="2420" y="179"/>
                  </a:cubicBezTo>
                  <a:cubicBezTo>
                    <a:pt x="2323" y="179"/>
                    <a:pt x="2240" y="238"/>
                    <a:pt x="2203" y="321"/>
                  </a:cubicBezTo>
                  <a:cubicBezTo>
                    <a:pt x="2179" y="311"/>
                    <a:pt x="2152" y="305"/>
                    <a:pt x="2123" y="305"/>
                  </a:cubicBezTo>
                  <a:cubicBezTo>
                    <a:pt x="2080" y="305"/>
                    <a:pt x="2039" y="319"/>
                    <a:pt x="2006" y="342"/>
                  </a:cubicBezTo>
                  <a:cubicBezTo>
                    <a:pt x="1977" y="268"/>
                    <a:pt x="1904" y="215"/>
                    <a:pt x="1820" y="215"/>
                  </a:cubicBezTo>
                  <a:cubicBezTo>
                    <a:pt x="1819" y="215"/>
                    <a:pt x="1817" y="215"/>
                    <a:pt x="1816" y="215"/>
                  </a:cubicBezTo>
                  <a:cubicBezTo>
                    <a:pt x="1803" y="216"/>
                    <a:pt x="1791" y="217"/>
                    <a:pt x="1779" y="219"/>
                  </a:cubicBezTo>
                  <a:cubicBezTo>
                    <a:pt x="1742" y="257"/>
                    <a:pt x="1742" y="257"/>
                    <a:pt x="1742" y="257"/>
                  </a:cubicBezTo>
                  <a:cubicBezTo>
                    <a:pt x="1766" y="246"/>
                    <a:pt x="1792" y="241"/>
                    <a:pt x="1820" y="241"/>
                  </a:cubicBezTo>
                  <a:cubicBezTo>
                    <a:pt x="1904" y="241"/>
                    <a:pt x="1977" y="293"/>
                    <a:pt x="2006" y="367"/>
                  </a:cubicBezTo>
                  <a:cubicBezTo>
                    <a:pt x="2039" y="344"/>
                    <a:pt x="2080" y="330"/>
                    <a:pt x="2123" y="330"/>
                  </a:cubicBezTo>
                  <a:cubicBezTo>
                    <a:pt x="2152" y="330"/>
                    <a:pt x="2179" y="336"/>
                    <a:pt x="2203" y="347"/>
                  </a:cubicBezTo>
                  <a:cubicBezTo>
                    <a:pt x="2240" y="263"/>
                    <a:pt x="2323" y="205"/>
                    <a:pt x="2420" y="205"/>
                  </a:cubicBezTo>
                  <a:cubicBezTo>
                    <a:pt x="2474" y="205"/>
                    <a:pt x="2524" y="223"/>
                    <a:pt x="2563" y="254"/>
                  </a:cubicBezTo>
                  <a:cubicBezTo>
                    <a:pt x="2603" y="234"/>
                    <a:pt x="2648" y="223"/>
                    <a:pt x="2695" y="223"/>
                  </a:cubicBezTo>
                  <a:cubicBezTo>
                    <a:pt x="2786" y="223"/>
                    <a:pt x="2867" y="264"/>
                    <a:pt x="2922" y="327"/>
                  </a:cubicBezTo>
                  <a:cubicBezTo>
                    <a:pt x="2924" y="328"/>
                    <a:pt x="2927" y="328"/>
                    <a:pt x="2930" y="329"/>
                  </a:cubicBezTo>
                  <a:cubicBezTo>
                    <a:pt x="2938" y="324"/>
                    <a:pt x="2946" y="320"/>
                    <a:pt x="2954" y="317"/>
                  </a:cubicBezTo>
                  <a:cubicBezTo>
                    <a:pt x="2978" y="189"/>
                    <a:pt x="3090" y="93"/>
                    <a:pt x="3224" y="93"/>
                  </a:cubicBezTo>
                  <a:cubicBezTo>
                    <a:pt x="3327" y="93"/>
                    <a:pt x="3417" y="150"/>
                    <a:pt x="3464" y="234"/>
                  </a:cubicBezTo>
                  <a:cubicBezTo>
                    <a:pt x="3479" y="231"/>
                    <a:pt x="3494" y="229"/>
                    <a:pt x="3510" y="229"/>
                  </a:cubicBezTo>
                  <a:cubicBezTo>
                    <a:pt x="3548" y="229"/>
                    <a:pt x="3584" y="239"/>
                    <a:pt x="3615" y="256"/>
                  </a:cubicBezTo>
                  <a:cubicBezTo>
                    <a:pt x="3655" y="211"/>
                    <a:pt x="3713" y="183"/>
                    <a:pt x="3777" y="183"/>
                  </a:cubicBezTo>
                  <a:cubicBezTo>
                    <a:pt x="3784" y="183"/>
                    <a:pt x="3790" y="184"/>
                    <a:pt x="3796" y="184"/>
                  </a:cubicBezTo>
                  <a:cubicBezTo>
                    <a:pt x="3810" y="180"/>
                    <a:pt x="3825" y="177"/>
                    <a:pt x="3840" y="175"/>
                  </a:cubicBezTo>
                  <a:cubicBezTo>
                    <a:pt x="3878" y="111"/>
                    <a:pt x="3933" y="59"/>
                    <a:pt x="4000" y="25"/>
                  </a:cubicBezTo>
                  <a:cubicBezTo>
                    <a:pt x="4000" y="0"/>
                    <a:pt x="4000" y="0"/>
                    <a:pt x="4000" y="0"/>
                  </a:cubicBezTo>
                </a:path>
              </a:pathLst>
            </a:custGeom>
            <a:solidFill>
              <a:srgbClr val="FFFFFF"/>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46" name="Google Shape;1468;p8">
              <a:extLst>
                <a:ext uri="{FF2B5EF4-FFF2-40B4-BE49-F238E27FC236}">
                  <a16:creationId xmlns:a16="http://schemas.microsoft.com/office/drawing/2014/main" id="{F1E97C7F-315B-4907-908A-CFF93DF9CAE1}"/>
                </a:ext>
              </a:extLst>
            </p:cNvPr>
            <p:cNvSpPr/>
            <p:nvPr/>
          </p:nvSpPr>
          <p:spPr>
            <a:xfrm>
              <a:off x="2289446" y="4283947"/>
              <a:ext cx="32749" cy="31261"/>
            </a:xfrm>
            <a:custGeom>
              <a:avLst/>
              <a:gdLst/>
              <a:ahLst/>
              <a:cxnLst/>
              <a:rect l="l" t="t" r="r" b="b"/>
              <a:pathLst>
                <a:path w="22" h="21" extrusionOk="0">
                  <a:moveTo>
                    <a:pt x="21" y="0"/>
                  </a:moveTo>
                  <a:lnTo>
                    <a:pt x="0" y="20"/>
                  </a:lnTo>
                  <a:lnTo>
                    <a:pt x="0" y="20"/>
                  </a:lnTo>
                  <a:lnTo>
                    <a:pt x="2" y="21"/>
                  </a:lnTo>
                  <a:lnTo>
                    <a:pt x="22" y="1"/>
                  </a:lnTo>
                  <a:lnTo>
                    <a:pt x="21" y="0"/>
                  </a:lnTo>
                  <a:close/>
                </a:path>
              </a:pathLst>
            </a:custGeom>
            <a:solidFill>
              <a:srgbClr val="BE9A41"/>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47" name="Google Shape;1469;p8">
              <a:extLst>
                <a:ext uri="{FF2B5EF4-FFF2-40B4-BE49-F238E27FC236}">
                  <a16:creationId xmlns:a16="http://schemas.microsoft.com/office/drawing/2014/main" id="{5F1201CD-B318-4F72-9478-11ACD0F3A58E}"/>
                </a:ext>
              </a:extLst>
            </p:cNvPr>
            <p:cNvSpPr/>
            <p:nvPr/>
          </p:nvSpPr>
          <p:spPr>
            <a:xfrm>
              <a:off x="2289446" y="4283947"/>
              <a:ext cx="32749" cy="31261"/>
            </a:xfrm>
            <a:custGeom>
              <a:avLst/>
              <a:gdLst/>
              <a:ahLst/>
              <a:cxnLst/>
              <a:rect l="l" t="t" r="r" b="b"/>
              <a:pathLst>
                <a:path w="22" h="21" extrusionOk="0">
                  <a:moveTo>
                    <a:pt x="21" y="0"/>
                  </a:moveTo>
                  <a:lnTo>
                    <a:pt x="0" y="20"/>
                  </a:lnTo>
                  <a:lnTo>
                    <a:pt x="0" y="20"/>
                  </a:lnTo>
                  <a:lnTo>
                    <a:pt x="2" y="21"/>
                  </a:lnTo>
                  <a:lnTo>
                    <a:pt x="22" y="1"/>
                  </a:lnTo>
                  <a:lnTo>
                    <a:pt x="21" y="0"/>
                  </a:lnTo>
                </a:path>
              </a:pathLst>
            </a:custGeom>
            <a:no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48" name="Google Shape;1470;p8">
              <a:extLst>
                <a:ext uri="{FF2B5EF4-FFF2-40B4-BE49-F238E27FC236}">
                  <a16:creationId xmlns:a16="http://schemas.microsoft.com/office/drawing/2014/main" id="{8BF1217D-9DE7-473E-BB6B-24E2D1957076}"/>
                </a:ext>
              </a:extLst>
            </p:cNvPr>
            <p:cNvSpPr/>
            <p:nvPr/>
          </p:nvSpPr>
          <p:spPr>
            <a:xfrm>
              <a:off x="2308798" y="4539985"/>
              <a:ext cx="357260" cy="172676"/>
            </a:xfrm>
            <a:custGeom>
              <a:avLst/>
              <a:gdLst/>
              <a:ahLst/>
              <a:cxnLst/>
              <a:rect l="l" t="t" r="r" b="b"/>
              <a:pathLst>
                <a:path w="279" h="135" extrusionOk="0">
                  <a:moveTo>
                    <a:pt x="135" y="1"/>
                  </a:moveTo>
                  <a:cubicBezTo>
                    <a:pt x="0" y="135"/>
                    <a:pt x="0" y="135"/>
                    <a:pt x="0" y="135"/>
                  </a:cubicBezTo>
                  <a:cubicBezTo>
                    <a:pt x="29" y="135"/>
                    <a:pt x="29" y="135"/>
                    <a:pt x="29" y="135"/>
                  </a:cubicBezTo>
                  <a:cubicBezTo>
                    <a:pt x="163" y="1"/>
                    <a:pt x="163" y="1"/>
                    <a:pt x="163" y="1"/>
                  </a:cubicBezTo>
                  <a:cubicBezTo>
                    <a:pt x="153" y="1"/>
                    <a:pt x="144" y="1"/>
                    <a:pt x="135" y="1"/>
                  </a:cubicBezTo>
                  <a:moveTo>
                    <a:pt x="209" y="0"/>
                  </a:moveTo>
                  <a:cubicBezTo>
                    <a:pt x="196" y="1"/>
                    <a:pt x="182" y="1"/>
                    <a:pt x="168" y="1"/>
                  </a:cubicBezTo>
                  <a:cubicBezTo>
                    <a:pt x="167" y="1"/>
                    <a:pt x="165" y="1"/>
                    <a:pt x="164" y="1"/>
                  </a:cubicBezTo>
                  <a:cubicBezTo>
                    <a:pt x="279" y="117"/>
                    <a:pt x="279" y="117"/>
                    <a:pt x="279" y="117"/>
                  </a:cubicBezTo>
                  <a:cubicBezTo>
                    <a:pt x="279" y="70"/>
                    <a:pt x="279" y="70"/>
                    <a:pt x="279" y="70"/>
                  </a:cubicBezTo>
                  <a:cubicBezTo>
                    <a:pt x="209" y="0"/>
                    <a:pt x="209" y="0"/>
                    <a:pt x="209" y="0"/>
                  </a:cubicBezTo>
                </a:path>
              </a:pathLst>
            </a:custGeom>
            <a:solidFill>
              <a:schemeClr val="accent5">
                <a:lumMod val="20000"/>
                <a:lumOff val="80000"/>
                <a:alpha val="64000"/>
              </a:schemeClr>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49" name="Google Shape;1473;p8">
              <a:extLst>
                <a:ext uri="{FF2B5EF4-FFF2-40B4-BE49-F238E27FC236}">
                  <a16:creationId xmlns:a16="http://schemas.microsoft.com/office/drawing/2014/main" id="{315CAE39-601C-4394-9E7A-5B06C3EF215C}"/>
                </a:ext>
              </a:extLst>
            </p:cNvPr>
            <p:cNvSpPr/>
            <p:nvPr/>
          </p:nvSpPr>
          <p:spPr>
            <a:xfrm>
              <a:off x="2027455" y="4781134"/>
              <a:ext cx="230731" cy="224777"/>
            </a:xfrm>
            <a:custGeom>
              <a:avLst/>
              <a:gdLst/>
              <a:ahLst/>
              <a:cxnLst/>
              <a:rect l="l" t="t" r="r" b="b"/>
              <a:pathLst>
                <a:path w="181" h="175" extrusionOk="0">
                  <a:moveTo>
                    <a:pt x="166" y="0"/>
                  </a:moveTo>
                  <a:cubicBezTo>
                    <a:pt x="166" y="0"/>
                    <a:pt x="166" y="0"/>
                    <a:pt x="166" y="0"/>
                  </a:cubicBezTo>
                  <a:cubicBezTo>
                    <a:pt x="0" y="166"/>
                    <a:pt x="0" y="166"/>
                    <a:pt x="0" y="166"/>
                  </a:cubicBezTo>
                  <a:cubicBezTo>
                    <a:pt x="7" y="169"/>
                    <a:pt x="13" y="172"/>
                    <a:pt x="20" y="175"/>
                  </a:cubicBezTo>
                  <a:cubicBezTo>
                    <a:pt x="181" y="14"/>
                    <a:pt x="181" y="14"/>
                    <a:pt x="181" y="14"/>
                  </a:cubicBezTo>
                  <a:cubicBezTo>
                    <a:pt x="166" y="0"/>
                    <a:pt x="166" y="0"/>
                    <a:pt x="166" y="0"/>
                  </a:cubicBezTo>
                </a:path>
              </a:pathLst>
            </a:custGeom>
            <a:solidFill>
              <a:schemeClr val="accent5">
                <a:lumMod val="20000"/>
                <a:lumOff val="80000"/>
                <a:alpha val="64000"/>
              </a:schemeClr>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50" name="Google Shape;1474;p8">
              <a:extLst>
                <a:ext uri="{FF2B5EF4-FFF2-40B4-BE49-F238E27FC236}">
                  <a16:creationId xmlns:a16="http://schemas.microsoft.com/office/drawing/2014/main" id="{2B06090C-99D5-4762-B941-33343DD6399C}"/>
                </a:ext>
              </a:extLst>
            </p:cNvPr>
            <p:cNvSpPr/>
            <p:nvPr/>
          </p:nvSpPr>
          <p:spPr>
            <a:xfrm>
              <a:off x="1756533" y="5017821"/>
              <a:ext cx="272411" cy="254548"/>
            </a:xfrm>
            <a:custGeom>
              <a:avLst/>
              <a:gdLst/>
              <a:ahLst/>
              <a:cxnLst/>
              <a:rect l="l" t="t" r="r" b="b"/>
              <a:pathLst>
                <a:path w="213" h="199" extrusionOk="0">
                  <a:moveTo>
                    <a:pt x="193" y="0"/>
                  </a:moveTo>
                  <a:cubicBezTo>
                    <a:pt x="0" y="193"/>
                    <a:pt x="0" y="193"/>
                    <a:pt x="0" y="193"/>
                  </a:cubicBezTo>
                  <a:cubicBezTo>
                    <a:pt x="8" y="195"/>
                    <a:pt x="15" y="197"/>
                    <a:pt x="22" y="199"/>
                  </a:cubicBezTo>
                  <a:cubicBezTo>
                    <a:pt x="213" y="8"/>
                    <a:pt x="213" y="8"/>
                    <a:pt x="213" y="8"/>
                  </a:cubicBezTo>
                  <a:cubicBezTo>
                    <a:pt x="207" y="5"/>
                    <a:pt x="200" y="3"/>
                    <a:pt x="193" y="0"/>
                  </a:cubicBezTo>
                </a:path>
              </a:pathLst>
            </a:custGeom>
            <a:solidFill>
              <a:schemeClr val="accent5">
                <a:lumMod val="20000"/>
                <a:lumOff val="80000"/>
                <a:alpha val="38000"/>
              </a:schemeClr>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51" name="Google Shape;1475;p8">
              <a:extLst>
                <a:ext uri="{FF2B5EF4-FFF2-40B4-BE49-F238E27FC236}">
                  <a16:creationId xmlns:a16="http://schemas.microsoft.com/office/drawing/2014/main" id="{ADD7E90C-6A75-4E26-A0A0-FD58FCA9CF2F}"/>
                </a:ext>
              </a:extLst>
            </p:cNvPr>
            <p:cNvSpPr/>
            <p:nvPr/>
          </p:nvSpPr>
          <p:spPr>
            <a:xfrm>
              <a:off x="2003638" y="4994002"/>
              <a:ext cx="49124" cy="34237"/>
            </a:xfrm>
            <a:custGeom>
              <a:avLst/>
              <a:gdLst/>
              <a:ahLst/>
              <a:cxnLst/>
              <a:rect l="l" t="t" r="r" b="b"/>
              <a:pathLst>
                <a:path w="38" h="26" extrusionOk="0">
                  <a:moveTo>
                    <a:pt x="18" y="0"/>
                  </a:moveTo>
                  <a:cubicBezTo>
                    <a:pt x="0" y="18"/>
                    <a:pt x="0" y="18"/>
                    <a:pt x="0" y="18"/>
                  </a:cubicBezTo>
                  <a:cubicBezTo>
                    <a:pt x="7" y="21"/>
                    <a:pt x="14" y="23"/>
                    <a:pt x="20" y="26"/>
                  </a:cubicBezTo>
                  <a:cubicBezTo>
                    <a:pt x="38" y="9"/>
                    <a:pt x="38" y="9"/>
                    <a:pt x="38" y="9"/>
                  </a:cubicBezTo>
                  <a:cubicBezTo>
                    <a:pt x="31" y="6"/>
                    <a:pt x="25" y="3"/>
                    <a:pt x="18" y="0"/>
                  </a:cubicBezTo>
                </a:path>
              </a:pathLst>
            </a:custGeom>
            <a:solidFill>
              <a:srgbClr val="B2B2B2"/>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52" name="Google Shape;1476;p8">
              <a:extLst>
                <a:ext uri="{FF2B5EF4-FFF2-40B4-BE49-F238E27FC236}">
                  <a16:creationId xmlns:a16="http://schemas.microsoft.com/office/drawing/2014/main" id="{81A91260-BFE5-49AB-82FE-2A0439E5768F}"/>
                </a:ext>
              </a:extLst>
            </p:cNvPr>
            <p:cNvSpPr/>
            <p:nvPr/>
          </p:nvSpPr>
          <p:spPr>
            <a:xfrm>
              <a:off x="952698" y="4136578"/>
              <a:ext cx="1725271" cy="1516868"/>
            </a:xfrm>
            <a:custGeom>
              <a:avLst/>
              <a:gdLst/>
              <a:ahLst/>
              <a:cxnLst/>
              <a:rect l="l" t="t" r="r" b="b"/>
              <a:pathLst>
                <a:path w="1159" h="1019" extrusionOk="0">
                  <a:moveTo>
                    <a:pt x="1151" y="331"/>
                  </a:moveTo>
                  <a:lnTo>
                    <a:pt x="1151" y="331"/>
                  </a:lnTo>
                  <a:lnTo>
                    <a:pt x="1059" y="239"/>
                  </a:lnTo>
                  <a:lnTo>
                    <a:pt x="892" y="407"/>
                  </a:lnTo>
                  <a:lnTo>
                    <a:pt x="877" y="421"/>
                  </a:lnTo>
                  <a:lnTo>
                    <a:pt x="864" y="433"/>
                  </a:lnTo>
                  <a:lnTo>
                    <a:pt x="279" y="1019"/>
                  </a:lnTo>
                  <a:lnTo>
                    <a:pt x="0" y="1019"/>
                  </a:lnTo>
                  <a:lnTo>
                    <a:pt x="900" y="120"/>
                  </a:lnTo>
                  <a:lnTo>
                    <a:pt x="920" y="100"/>
                  </a:lnTo>
                  <a:lnTo>
                    <a:pt x="919" y="99"/>
                  </a:lnTo>
                  <a:lnTo>
                    <a:pt x="820" y="0"/>
                  </a:lnTo>
                  <a:lnTo>
                    <a:pt x="982" y="0"/>
                  </a:lnTo>
                  <a:lnTo>
                    <a:pt x="1017" y="0"/>
                  </a:lnTo>
                  <a:lnTo>
                    <a:pt x="1149" y="0"/>
                  </a:lnTo>
                  <a:lnTo>
                    <a:pt x="1159" y="0"/>
                  </a:lnTo>
                  <a:lnTo>
                    <a:pt x="1159" y="9"/>
                  </a:lnTo>
                  <a:lnTo>
                    <a:pt x="1159" y="339"/>
                  </a:lnTo>
                  <a:lnTo>
                    <a:pt x="1151" y="331"/>
                  </a:lnTo>
                  <a:close/>
                </a:path>
              </a:pathLst>
            </a:custGeom>
            <a:solidFill>
              <a:schemeClr val="accent2">
                <a:lumMod val="100000"/>
              </a:schemeClr>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53" name="Google Shape;1477;p8">
              <a:extLst>
                <a:ext uri="{FF2B5EF4-FFF2-40B4-BE49-F238E27FC236}">
                  <a16:creationId xmlns:a16="http://schemas.microsoft.com/office/drawing/2014/main" id="{468730FD-E33A-4D36-8D52-1ACD064A90C0}"/>
                </a:ext>
              </a:extLst>
            </p:cNvPr>
            <p:cNvSpPr/>
            <p:nvPr/>
          </p:nvSpPr>
          <p:spPr>
            <a:xfrm>
              <a:off x="952698" y="4136578"/>
              <a:ext cx="1725271" cy="1516868"/>
            </a:xfrm>
            <a:custGeom>
              <a:avLst/>
              <a:gdLst/>
              <a:ahLst/>
              <a:cxnLst/>
              <a:rect l="l" t="t" r="r" b="b"/>
              <a:pathLst>
                <a:path w="1159" h="1019" extrusionOk="0">
                  <a:moveTo>
                    <a:pt x="1151" y="331"/>
                  </a:moveTo>
                  <a:lnTo>
                    <a:pt x="1151" y="331"/>
                  </a:lnTo>
                  <a:lnTo>
                    <a:pt x="1059" y="239"/>
                  </a:lnTo>
                  <a:lnTo>
                    <a:pt x="892" y="407"/>
                  </a:lnTo>
                  <a:lnTo>
                    <a:pt x="877" y="421"/>
                  </a:lnTo>
                  <a:lnTo>
                    <a:pt x="864" y="433"/>
                  </a:lnTo>
                  <a:lnTo>
                    <a:pt x="279" y="1019"/>
                  </a:lnTo>
                  <a:lnTo>
                    <a:pt x="0" y="1019"/>
                  </a:lnTo>
                  <a:lnTo>
                    <a:pt x="900" y="120"/>
                  </a:lnTo>
                  <a:lnTo>
                    <a:pt x="920" y="100"/>
                  </a:lnTo>
                  <a:lnTo>
                    <a:pt x="919" y="99"/>
                  </a:lnTo>
                  <a:lnTo>
                    <a:pt x="820" y="0"/>
                  </a:lnTo>
                  <a:lnTo>
                    <a:pt x="982" y="0"/>
                  </a:lnTo>
                  <a:lnTo>
                    <a:pt x="1017" y="0"/>
                  </a:lnTo>
                  <a:lnTo>
                    <a:pt x="1149" y="0"/>
                  </a:lnTo>
                  <a:lnTo>
                    <a:pt x="1159" y="0"/>
                  </a:lnTo>
                  <a:lnTo>
                    <a:pt x="1159" y="9"/>
                  </a:lnTo>
                  <a:lnTo>
                    <a:pt x="1159" y="339"/>
                  </a:lnTo>
                  <a:lnTo>
                    <a:pt x="1151" y="331"/>
                  </a:lnTo>
                </a:path>
              </a:pathLst>
            </a:custGeom>
            <a:no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54" name="Google Shape;1479;p8">
              <a:extLst>
                <a:ext uri="{FF2B5EF4-FFF2-40B4-BE49-F238E27FC236}">
                  <a16:creationId xmlns:a16="http://schemas.microsoft.com/office/drawing/2014/main" id="{4E42F863-DEED-4A19-B679-6FCEF728377A}"/>
                </a:ext>
              </a:extLst>
            </p:cNvPr>
            <p:cNvSpPr/>
            <p:nvPr/>
          </p:nvSpPr>
          <p:spPr>
            <a:xfrm>
              <a:off x="2258186" y="4781133"/>
              <a:ext cx="37215" cy="38704"/>
            </a:xfrm>
            <a:custGeom>
              <a:avLst/>
              <a:gdLst/>
              <a:ahLst/>
              <a:cxnLst/>
              <a:rect l="l" t="t" r="r" b="b"/>
              <a:pathLst>
                <a:path w="25" h="26" extrusionOk="0">
                  <a:moveTo>
                    <a:pt x="12" y="0"/>
                  </a:moveTo>
                  <a:lnTo>
                    <a:pt x="12" y="0"/>
                  </a:lnTo>
                  <a:lnTo>
                    <a:pt x="0" y="13"/>
                  </a:lnTo>
                  <a:lnTo>
                    <a:pt x="13" y="26"/>
                  </a:lnTo>
                  <a:lnTo>
                    <a:pt x="25" y="14"/>
                  </a:lnTo>
                  <a:lnTo>
                    <a:pt x="12" y="0"/>
                  </a:lnTo>
                </a:path>
              </a:pathLst>
            </a:custGeom>
            <a:no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55" name="Google Shape;1481;p8">
              <a:extLst>
                <a:ext uri="{FF2B5EF4-FFF2-40B4-BE49-F238E27FC236}">
                  <a16:creationId xmlns:a16="http://schemas.microsoft.com/office/drawing/2014/main" id="{6E8907F1-BC4A-40C9-AF28-BE6C1C8A7EDE}"/>
                </a:ext>
              </a:extLst>
            </p:cNvPr>
            <p:cNvSpPr/>
            <p:nvPr/>
          </p:nvSpPr>
          <p:spPr>
            <a:xfrm>
              <a:off x="2238834" y="4763271"/>
              <a:ext cx="37215" cy="37215"/>
            </a:xfrm>
            <a:custGeom>
              <a:avLst/>
              <a:gdLst/>
              <a:ahLst/>
              <a:cxnLst/>
              <a:rect l="l" t="t" r="r" b="b"/>
              <a:pathLst>
                <a:path w="25" h="25" extrusionOk="0">
                  <a:moveTo>
                    <a:pt x="13" y="0"/>
                  </a:moveTo>
                  <a:lnTo>
                    <a:pt x="13" y="0"/>
                  </a:lnTo>
                  <a:lnTo>
                    <a:pt x="0" y="12"/>
                  </a:lnTo>
                  <a:lnTo>
                    <a:pt x="13" y="25"/>
                  </a:lnTo>
                  <a:lnTo>
                    <a:pt x="25" y="12"/>
                  </a:lnTo>
                  <a:lnTo>
                    <a:pt x="13" y="0"/>
                  </a:lnTo>
                </a:path>
              </a:pathLst>
            </a:custGeom>
            <a:no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56" name="Google Shape;1486;p8">
              <a:extLst>
                <a:ext uri="{FF2B5EF4-FFF2-40B4-BE49-F238E27FC236}">
                  <a16:creationId xmlns:a16="http://schemas.microsoft.com/office/drawing/2014/main" id="{C3442507-89C9-4305-97D8-D1C2C55F0441}"/>
                </a:ext>
              </a:extLst>
            </p:cNvPr>
            <p:cNvSpPr/>
            <p:nvPr/>
          </p:nvSpPr>
          <p:spPr>
            <a:xfrm>
              <a:off x="2189711" y="5093737"/>
              <a:ext cx="86339" cy="68475"/>
            </a:xfrm>
            <a:custGeom>
              <a:avLst/>
              <a:gdLst/>
              <a:ahLst/>
              <a:cxnLst/>
              <a:rect l="l" t="t" r="r" b="b"/>
              <a:pathLst>
                <a:path w="68" h="52" extrusionOk="0">
                  <a:moveTo>
                    <a:pt x="68" y="0"/>
                  </a:moveTo>
                  <a:cubicBezTo>
                    <a:pt x="60" y="2"/>
                    <a:pt x="52" y="4"/>
                    <a:pt x="44" y="7"/>
                  </a:cubicBezTo>
                  <a:cubicBezTo>
                    <a:pt x="0" y="51"/>
                    <a:pt x="0" y="51"/>
                    <a:pt x="0" y="51"/>
                  </a:cubicBezTo>
                  <a:cubicBezTo>
                    <a:pt x="1" y="51"/>
                    <a:pt x="1" y="52"/>
                    <a:pt x="2" y="53"/>
                  </a:cubicBezTo>
                  <a:cubicBezTo>
                    <a:pt x="11" y="47"/>
                    <a:pt x="20" y="42"/>
                    <a:pt x="31" y="38"/>
                  </a:cubicBezTo>
                  <a:cubicBezTo>
                    <a:pt x="68" y="0"/>
                    <a:pt x="68" y="0"/>
                    <a:pt x="68" y="0"/>
                  </a:cubicBezTo>
                </a:path>
              </a:pathLst>
            </a:custGeom>
            <a:solidFill>
              <a:srgbClr val="B2B2B2"/>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57" name="Google Shape;1487;p8">
              <a:extLst>
                <a:ext uri="{FF2B5EF4-FFF2-40B4-BE49-F238E27FC236}">
                  <a16:creationId xmlns:a16="http://schemas.microsoft.com/office/drawing/2014/main" id="{6F15E017-2877-4E53-A6D1-BDC996C60C23}"/>
                </a:ext>
              </a:extLst>
            </p:cNvPr>
            <p:cNvSpPr/>
            <p:nvPr/>
          </p:nvSpPr>
          <p:spPr>
            <a:xfrm>
              <a:off x="1445419" y="4712660"/>
              <a:ext cx="1065827" cy="940785"/>
            </a:xfrm>
            <a:custGeom>
              <a:avLst/>
              <a:gdLst/>
              <a:ahLst/>
              <a:cxnLst/>
              <a:rect l="l" t="t" r="r" b="b"/>
              <a:pathLst>
                <a:path w="716" h="632" extrusionOk="0">
                  <a:moveTo>
                    <a:pt x="716" y="205"/>
                  </a:moveTo>
                  <a:lnTo>
                    <a:pt x="711" y="200"/>
                  </a:lnTo>
                  <a:lnTo>
                    <a:pt x="656" y="145"/>
                  </a:lnTo>
                  <a:lnTo>
                    <a:pt x="168" y="632"/>
                  </a:lnTo>
                  <a:lnTo>
                    <a:pt x="0" y="632"/>
                  </a:lnTo>
                  <a:lnTo>
                    <a:pt x="559" y="72"/>
                  </a:lnTo>
                  <a:lnTo>
                    <a:pt x="571" y="60"/>
                  </a:lnTo>
                  <a:lnTo>
                    <a:pt x="511" y="0"/>
                  </a:lnTo>
                  <a:lnTo>
                    <a:pt x="605" y="0"/>
                  </a:lnTo>
                  <a:lnTo>
                    <a:pt x="716" y="0"/>
                  </a:lnTo>
                  <a:lnTo>
                    <a:pt x="716" y="205"/>
                  </a:lnTo>
                  <a:close/>
                </a:path>
              </a:pathLst>
            </a:custGeom>
            <a:solidFill>
              <a:schemeClr val="accent1">
                <a:lumMod val="100000"/>
              </a:schemeClr>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58" name="Google Shape;1488;p8">
              <a:extLst>
                <a:ext uri="{FF2B5EF4-FFF2-40B4-BE49-F238E27FC236}">
                  <a16:creationId xmlns:a16="http://schemas.microsoft.com/office/drawing/2014/main" id="{7FD9D414-DFED-47AC-B07A-E72421AD7087}"/>
                </a:ext>
              </a:extLst>
            </p:cNvPr>
            <p:cNvSpPr/>
            <p:nvPr/>
          </p:nvSpPr>
          <p:spPr>
            <a:xfrm>
              <a:off x="1445419" y="4712660"/>
              <a:ext cx="1065827" cy="940785"/>
            </a:xfrm>
            <a:custGeom>
              <a:avLst/>
              <a:gdLst/>
              <a:ahLst/>
              <a:cxnLst/>
              <a:rect l="l" t="t" r="r" b="b"/>
              <a:pathLst>
                <a:path w="716" h="632" extrusionOk="0">
                  <a:moveTo>
                    <a:pt x="716" y="205"/>
                  </a:moveTo>
                  <a:lnTo>
                    <a:pt x="711" y="200"/>
                  </a:lnTo>
                  <a:lnTo>
                    <a:pt x="656" y="145"/>
                  </a:lnTo>
                  <a:lnTo>
                    <a:pt x="168" y="632"/>
                  </a:lnTo>
                  <a:lnTo>
                    <a:pt x="0" y="632"/>
                  </a:lnTo>
                  <a:lnTo>
                    <a:pt x="559" y="72"/>
                  </a:lnTo>
                  <a:lnTo>
                    <a:pt x="571" y="60"/>
                  </a:lnTo>
                  <a:lnTo>
                    <a:pt x="511" y="0"/>
                  </a:lnTo>
                  <a:lnTo>
                    <a:pt x="605" y="0"/>
                  </a:lnTo>
                  <a:lnTo>
                    <a:pt x="716" y="0"/>
                  </a:lnTo>
                  <a:lnTo>
                    <a:pt x="716" y="205"/>
                  </a:lnTo>
                </a:path>
              </a:pathLst>
            </a:custGeom>
            <a:no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59" name="Google Shape;1489;p8">
              <a:extLst>
                <a:ext uri="{FF2B5EF4-FFF2-40B4-BE49-F238E27FC236}">
                  <a16:creationId xmlns:a16="http://schemas.microsoft.com/office/drawing/2014/main" id="{809CCDA5-1FEF-46AF-B9F6-95A259F61C5E}"/>
                </a:ext>
              </a:extLst>
            </p:cNvPr>
            <p:cNvSpPr/>
            <p:nvPr/>
          </p:nvSpPr>
          <p:spPr>
            <a:xfrm>
              <a:off x="1533245" y="3728706"/>
              <a:ext cx="142904" cy="116109"/>
            </a:xfrm>
            <a:custGeom>
              <a:avLst/>
              <a:gdLst/>
              <a:ahLst/>
              <a:cxnLst/>
              <a:rect l="l" t="t" r="r" b="b"/>
              <a:pathLst>
                <a:path w="96" h="78" extrusionOk="0">
                  <a:moveTo>
                    <a:pt x="36" y="0"/>
                  </a:moveTo>
                  <a:lnTo>
                    <a:pt x="0" y="0"/>
                  </a:lnTo>
                  <a:lnTo>
                    <a:pt x="78" y="78"/>
                  </a:lnTo>
                  <a:lnTo>
                    <a:pt x="96" y="60"/>
                  </a:lnTo>
                  <a:lnTo>
                    <a:pt x="36" y="0"/>
                  </a:lnTo>
                  <a:close/>
                </a:path>
              </a:pathLst>
            </a:custGeom>
            <a:solidFill>
              <a:schemeClr val="accent2">
                <a:lumMod val="20000"/>
                <a:lumOff val="80000"/>
                <a:alpha val="18000"/>
              </a:schemeClr>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60" name="Google Shape;1490;p8">
              <a:extLst>
                <a:ext uri="{FF2B5EF4-FFF2-40B4-BE49-F238E27FC236}">
                  <a16:creationId xmlns:a16="http://schemas.microsoft.com/office/drawing/2014/main" id="{22979369-AAF5-4CA1-898A-11D3836A10AC}"/>
                </a:ext>
              </a:extLst>
            </p:cNvPr>
            <p:cNvSpPr/>
            <p:nvPr/>
          </p:nvSpPr>
          <p:spPr>
            <a:xfrm>
              <a:off x="1533245" y="3728706"/>
              <a:ext cx="142904" cy="116109"/>
            </a:xfrm>
            <a:custGeom>
              <a:avLst/>
              <a:gdLst/>
              <a:ahLst/>
              <a:cxnLst/>
              <a:rect l="l" t="t" r="r" b="b"/>
              <a:pathLst>
                <a:path w="96" h="78" extrusionOk="0">
                  <a:moveTo>
                    <a:pt x="36" y="0"/>
                  </a:moveTo>
                  <a:lnTo>
                    <a:pt x="0" y="0"/>
                  </a:lnTo>
                  <a:lnTo>
                    <a:pt x="78" y="78"/>
                  </a:lnTo>
                  <a:lnTo>
                    <a:pt x="96" y="60"/>
                  </a:lnTo>
                  <a:lnTo>
                    <a:pt x="36" y="0"/>
                  </a:lnTo>
                </a:path>
              </a:pathLst>
            </a:custGeom>
            <a:no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61" name="Google Shape;1491;p8">
              <a:extLst>
                <a:ext uri="{FF2B5EF4-FFF2-40B4-BE49-F238E27FC236}">
                  <a16:creationId xmlns:a16="http://schemas.microsoft.com/office/drawing/2014/main" id="{24EE95F3-BD77-4D46-AA69-5DEED073B206}"/>
                </a:ext>
              </a:extLst>
            </p:cNvPr>
            <p:cNvSpPr/>
            <p:nvPr/>
          </p:nvSpPr>
          <p:spPr>
            <a:xfrm>
              <a:off x="888688" y="4187189"/>
              <a:ext cx="805325" cy="794904"/>
            </a:xfrm>
            <a:custGeom>
              <a:avLst/>
              <a:gdLst/>
              <a:ahLst/>
              <a:cxnLst/>
              <a:rect l="l" t="t" r="r" b="b"/>
              <a:pathLst>
                <a:path w="629" h="621" extrusionOk="0">
                  <a:moveTo>
                    <a:pt x="616" y="0"/>
                  </a:moveTo>
                  <a:cubicBezTo>
                    <a:pt x="0" y="616"/>
                    <a:pt x="0" y="616"/>
                    <a:pt x="0" y="616"/>
                  </a:cubicBezTo>
                  <a:cubicBezTo>
                    <a:pt x="7" y="617"/>
                    <a:pt x="14" y="619"/>
                    <a:pt x="20" y="621"/>
                  </a:cubicBezTo>
                  <a:cubicBezTo>
                    <a:pt x="629" y="13"/>
                    <a:pt x="629" y="13"/>
                    <a:pt x="629" y="13"/>
                  </a:cubicBezTo>
                  <a:cubicBezTo>
                    <a:pt x="624" y="9"/>
                    <a:pt x="620" y="4"/>
                    <a:pt x="616" y="0"/>
                  </a:cubicBezTo>
                </a:path>
              </a:pathLst>
            </a:custGeom>
            <a:solidFill>
              <a:schemeClr val="accent1">
                <a:lumMod val="20000"/>
                <a:lumOff val="80000"/>
                <a:alpha val="18000"/>
              </a:schemeClr>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62" name="Google Shape;1492;p8">
              <a:extLst>
                <a:ext uri="{FF2B5EF4-FFF2-40B4-BE49-F238E27FC236}">
                  <a16:creationId xmlns:a16="http://schemas.microsoft.com/office/drawing/2014/main" id="{DB54422B-4859-4F23-B10D-822A1A77570E}"/>
                </a:ext>
              </a:extLst>
            </p:cNvPr>
            <p:cNvSpPr/>
            <p:nvPr/>
          </p:nvSpPr>
          <p:spPr>
            <a:xfrm>
              <a:off x="1677638" y="4158905"/>
              <a:ext cx="43169" cy="46147"/>
            </a:xfrm>
            <a:custGeom>
              <a:avLst/>
              <a:gdLst/>
              <a:ahLst/>
              <a:cxnLst/>
              <a:rect l="l" t="t" r="r" b="b"/>
              <a:pathLst>
                <a:path w="34" h="35" extrusionOk="0">
                  <a:moveTo>
                    <a:pt x="22" y="0"/>
                  </a:moveTo>
                  <a:cubicBezTo>
                    <a:pt x="0" y="22"/>
                    <a:pt x="0" y="22"/>
                    <a:pt x="0" y="22"/>
                  </a:cubicBezTo>
                  <a:cubicBezTo>
                    <a:pt x="4" y="26"/>
                    <a:pt x="8" y="31"/>
                    <a:pt x="13" y="35"/>
                  </a:cubicBezTo>
                  <a:cubicBezTo>
                    <a:pt x="34" y="13"/>
                    <a:pt x="34" y="13"/>
                    <a:pt x="34" y="13"/>
                  </a:cubicBezTo>
                  <a:cubicBezTo>
                    <a:pt x="30" y="9"/>
                    <a:pt x="26" y="4"/>
                    <a:pt x="22" y="0"/>
                  </a:cubicBezTo>
                </a:path>
              </a:pathLst>
            </a:custGeom>
            <a:solidFill>
              <a:schemeClr val="accent2">
                <a:lumMod val="20000"/>
                <a:lumOff val="80000"/>
                <a:alpha val="18000"/>
              </a:schemeClr>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63" name="Google Shape;1493;p8">
              <a:extLst>
                <a:ext uri="{FF2B5EF4-FFF2-40B4-BE49-F238E27FC236}">
                  <a16:creationId xmlns:a16="http://schemas.microsoft.com/office/drawing/2014/main" id="{78F1710A-391E-4463-84EA-BE3D89E8D522}"/>
                </a:ext>
              </a:extLst>
            </p:cNvPr>
            <p:cNvSpPr/>
            <p:nvPr/>
          </p:nvSpPr>
          <p:spPr>
            <a:xfrm>
              <a:off x="1705922" y="4004094"/>
              <a:ext cx="200959" cy="172676"/>
            </a:xfrm>
            <a:custGeom>
              <a:avLst/>
              <a:gdLst/>
              <a:ahLst/>
              <a:cxnLst/>
              <a:rect l="l" t="t" r="r" b="b"/>
              <a:pathLst>
                <a:path w="157" h="135" extrusionOk="0">
                  <a:moveTo>
                    <a:pt x="122" y="0"/>
                  </a:moveTo>
                  <a:cubicBezTo>
                    <a:pt x="0" y="122"/>
                    <a:pt x="0" y="122"/>
                    <a:pt x="0" y="122"/>
                  </a:cubicBezTo>
                  <a:cubicBezTo>
                    <a:pt x="4" y="126"/>
                    <a:pt x="8" y="131"/>
                    <a:pt x="12" y="135"/>
                  </a:cubicBezTo>
                  <a:cubicBezTo>
                    <a:pt x="114" y="34"/>
                    <a:pt x="114" y="34"/>
                    <a:pt x="114" y="34"/>
                  </a:cubicBezTo>
                  <a:cubicBezTo>
                    <a:pt x="136" y="56"/>
                    <a:pt x="136" y="56"/>
                    <a:pt x="136" y="56"/>
                  </a:cubicBezTo>
                  <a:cubicBezTo>
                    <a:pt x="157" y="35"/>
                    <a:pt x="157" y="35"/>
                    <a:pt x="157" y="35"/>
                  </a:cubicBezTo>
                  <a:cubicBezTo>
                    <a:pt x="122" y="0"/>
                    <a:pt x="122" y="0"/>
                    <a:pt x="122" y="0"/>
                  </a:cubicBezTo>
                </a:path>
              </a:pathLst>
            </a:custGeom>
            <a:solidFill>
              <a:schemeClr val="accent2">
                <a:lumMod val="20000"/>
                <a:lumOff val="80000"/>
                <a:alpha val="18000"/>
              </a:schemeClr>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64" name="Google Shape;1494;p8">
              <a:extLst>
                <a:ext uri="{FF2B5EF4-FFF2-40B4-BE49-F238E27FC236}">
                  <a16:creationId xmlns:a16="http://schemas.microsoft.com/office/drawing/2014/main" id="{7814449B-1FDB-4C85-ACA6-048A6FD26852}"/>
                </a:ext>
              </a:extLst>
            </p:cNvPr>
            <p:cNvSpPr/>
            <p:nvPr/>
          </p:nvSpPr>
          <p:spPr>
            <a:xfrm>
              <a:off x="602880" y="5004422"/>
              <a:ext cx="285808" cy="259013"/>
            </a:xfrm>
            <a:custGeom>
              <a:avLst/>
              <a:gdLst/>
              <a:ahLst/>
              <a:cxnLst/>
              <a:rect l="l" t="t" r="r" b="b"/>
              <a:pathLst>
                <a:path w="224" h="201" extrusionOk="0">
                  <a:moveTo>
                    <a:pt x="202" y="0"/>
                  </a:moveTo>
                  <a:cubicBezTo>
                    <a:pt x="0" y="202"/>
                    <a:pt x="0" y="202"/>
                    <a:pt x="0" y="202"/>
                  </a:cubicBezTo>
                  <a:cubicBezTo>
                    <a:pt x="6" y="202"/>
                    <a:pt x="13" y="201"/>
                    <a:pt x="19" y="201"/>
                  </a:cubicBezTo>
                  <a:cubicBezTo>
                    <a:pt x="19" y="201"/>
                    <a:pt x="19" y="201"/>
                    <a:pt x="19" y="201"/>
                  </a:cubicBezTo>
                  <a:cubicBezTo>
                    <a:pt x="19" y="201"/>
                    <a:pt x="19" y="201"/>
                    <a:pt x="19" y="201"/>
                  </a:cubicBezTo>
                  <a:cubicBezTo>
                    <a:pt x="21" y="201"/>
                    <a:pt x="24" y="201"/>
                    <a:pt x="26" y="201"/>
                  </a:cubicBezTo>
                  <a:cubicBezTo>
                    <a:pt x="224" y="3"/>
                    <a:pt x="224" y="3"/>
                    <a:pt x="224" y="3"/>
                  </a:cubicBezTo>
                  <a:cubicBezTo>
                    <a:pt x="217" y="2"/>
                    <a:pt x="209" y="1"/>
                    <a:pt x="202" y="0"/>
                  </a:cubicBezTo>
                </a:path>
              </a:pathLst>
            </a:custGeom>
            <a:solidFill>
              <a:schemeClr val="accent1">
                <a:lumMod val="20000"/>
                <a:lumOff val="80000"/>
                <a:alpha val="18000"/>
              </a:schemeClr>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65" name="Google Shape;1495;p8">
              <a:extLst>
                <a:ext uri="{FF2B5EF4-FFF2-40B4-BE49-F238E27FC236}">
                  <a16:creationId xmlns:a16="http://schemas.microsoft.com/office/drawing/2014/main" id="{3678EDDC-BBB8-4F5E-84B6-4BE09EC09287}"/>
                </a:ext>
              </a:extLst>
            </p:cNvPr>
            <p:cNvSpPr/>
            <p:nvPr/>
          </p:nvSpPr>
          <p:spPr>
            <a:xfrm>
              <a:off x="861894" y="4976139"/>
              <a:ext cx="53589" cy="32749"/>
            </a:xfrm>
            <a:custGeom>
              <a:avLst/>
              <a:gdLst/>
              <a:ahLst/>
              <a:cxnLst/>
              <a:rect l="l" t="t" r="r" b="b"/>
              <a:pathLst>
                <a:path w="42" h="25" extrusionOk="0">
                  <a:moveTo>
                    <a:pt x="22" y="0"/>
                  </a:moveTo>
                  <a:cubicBezTo>
                    <a:pt x="0" y="22"/>
                    <a:pt x="0" y="22"/>
                    <a:pt x="0" y="22"/>
                  </a:cubicBezTo>
                  <a:cubicBezTo>
                    <a:pt x="7" y="23"/>
                    <a:pt x="15" y="24"/>
                    <a:pt x="22" y="25"/>
                  </a:cubicBezTo>
                  <a:cubicBezTo>
                    <a:pt x="42" y="5"/>
                    <a:pt x="42" y="5"/>
                    <a:pt x="42" y="5"/>
                  </a:cubicBezTo>
                  <a:cubicBezTo>
                    <a:pt x="36" y="3"/>
                    <a:pt x="29" y="1"/>
                    <a:pt x="22" y="0"/>
                  </a:cubicBezTo>
                </a:path>
              </a:pathLst>
            </a:custGeom>
            <a:solidFill>
              <a:srgbClr val="B2B2B2"/>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66" name="Google Shape;1496;p8">
              <a:extLst>
                <a:ext uri="{FF2B5EF4-FFF2-40B4-BE49-F238E27FC236}">
                  <a16:creationId xmlns:a16="http://schemas.microsoft.com/office/drawing/2014/main" id="{9AB679EB-52C2-48B9-BE83-70DD392F0D3D}"/>
                </a:ext>
              </a:extLst>
            </p:cNvPr>
            <p:cNvSpPr/>
            <p:nvPr/>
          </p:nvSpPr>
          <p:spPr>
            <a:xfrm>
              <a:off x="3" y="3685536"/>
              <a:ext cx="1993215" cy="1967909"/>
            </a:xfrm>
            <a:custGeom>
              <a:avLst/>
              <a:gdLst/>
              <a:ahLst/>
              <a:cxnLst/>
              <a:rect l="l" t="t" r="r" b="b"/>
              <a:pathLst>
                <a:path w="1339" h="1322" extrusionOk="0">
                  <a:moveTo>
                    <a:pt x="1339" y="185"/>
                  </a:moveTo>
                  <a:lnTo>
                    <a:pt x="1339" y="303"/>
                  </a:lnTo>
                  <a:lnTo>
                    <a:pt x="1333" y="296"/>
                  </a:lnTo>
                  <a:lnTo>
                    <a:pt x="1298" y="262"/>
                  </a:lnTo>
                  <a:lnTo>
                    <a:pt x="1281" y="244"/>
                  </a:lnTo>
                  <a:lnTo>
                    <a:pt x="1251" y="214"/>
                  </a:lnTo>
                  <a:lnTo>
                    <a:pt x="143" y="1322"/>
                  </a:lnTo>
                  <a:lnTo>
                    <a:pt x="0" y="1322"/>
                  </a:lnTo>
                  <a:lnTo>
                    <a:pt x="0" y="1216"/>
                  </a:lnTo>
                  <a:lnTo>
                    <a:pt x="944" y="272"/>
                  </a:lnTo>
                  <a:lnTo>
                    <a:pt x="956" y="260"/>
                  </a:lnTo>
                  <a:lnTo>
                    <a:pt x="990" y="225"/>
                  </a:lnTo>
                  <a:lnTo>
                    <a:pt x="1108" y="107"/>
                  </a:lnTo>
                  <a:lnTo>
                    <a:pt x="1126" y="89"/>
                  </a:lnTo>
                  <a:lnTo>
                    <a:pt x="1066" y="29"/>
                  </a:lnTo>
                  <a:lnTo>
                    <a:pt x="1037" y="0"/>
                  </a:lnTo>
                  <a:lnTo>
                    <a:pt x="1339" y="0"/>
                  </a:lnTo>
                  <a:lnTo>
                    <a:pt x="1339" y="185"/>
                  </a:lnTo>
                  <a:close/>
                </a:path>
              </a:pathLst>
            </a:custGeom>
            <a:solidFill>
              <a:schemeClr val="accent2"/>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67" name="Google Shape;1497;p8">
              <a:extLst>
                <a:ext uri="{FF2B5EF4-FFF2-40B4-BE49-F238E27FC236}">
                  <a16:creationId xmlns:a16="http://schemas.microsoft.com/office/drawing/2014/main" id="{D9016F1E-A704-4AA2-9616-6272617A713E}"/>
                </a:ext>
              </a:extLst>
            </p:cNvPr>
            <p:cNvSpPr/>
            <p:nvPr/>
          </p:nvSpPr>
          <p:spPr>
            <a:xfrm>
              <a:off x="3" y="3685536"/>
              <a:ext cx="1993215" cy="1967909"/>
            </a:xfrm>
            <a:custGeom>
              <a:avLst/>
              <a:gdLst/>
              <a:ahLst/>
              <a:cxnLst/>
              <a:rect l="l" t="t" r="r" b="b"/>
              <a:pathLst>
                <a:path w="1339" h="1322" extrusionOk="0">
                  <a:moveTo>
                    <a:pt x="1339" y="185"/>
                  </a:moveTo>
                  <a:lnTo>
                    <a:pt x="1339" y="303"/>
                  </a:lnTo>
                  <a:lnTo>
                    <a:pt x="1333" y="296"/>
                  </a:lnTo>
                  <a:lnTo>
                    <a:pt x="1298" y="262"/>
                  </a:lnTo>
                  <a:lnTo>
                    <a:pt x="1281" y="244"/>
                  </a:lnTo>
                  <a:lnTo>
                    <a:pt x="1251" y="214"/>
                  </a:lnTo>
                  <a:lnTo>
                    <a:pt x="143" y="1322"/>
                  </a:lnTo>
                  <a:lnTo>
                    <a:pt x="0" y="1322"/>
                  </a:lnTo>
                  <a:lnTo>
                    <a:pt x="0" y="1216"/>
                  </a:lnTo>
                  <a:lnTo>
                    <a:pt x="944" y="272"/>
                  </a:lnTo>
                  <a:lnTo>
                    <a:pt x="956" y="260"/>
                  </a:lnTo>
                  <a:lnTo>
                    <a:pt x="990" y="225"/>
                  </a:lnTo>
                  <a:lnTo>
                    <a:pt x="1108" y="107"/>
                  </a:lnTo>
                  <a:lnTo>
                    <a:pt x="1126" y="89"/>
                  </a:lnTo>
                  <a:lnTo>
                    <a:pt x="1066" y="29"/>
                  </a:lnTo>
                  <a:lnTo>
                    <a:pt x="1037" y="0"/>
                  </a:lnTo>
                  <a:lnTo>
                    <a:pt x="1339" y="0"/>
                  </a:lnTo>
                  <a:lnTo>
                    <a:pt x="1339" y="185"/>
                  </a:lnTo>
                </a:path>
              </a:pathLst>
            </a:custGeom>
            <a:no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68" name="Google Shape;1498;p8">
              <a:extLst>
                <a:ext uri="{FF2B5EF4-FFF2-40B4-BE49-F238E27FC236}">
                  <a16:creationId xmlns:a16="http://schemas.microsoft.com/office/drawing/2014/main" id="{203C1B59-53BA-4FD5-BC36-AF7BFEFFD9AD}"/>
                </a:ext>
              </a:extLst>
            </p:cNvPr>
            <p:cNvSpPr/>
            <p:nvPr/>
          </p:nvSpPr>
          <p:spPr>
            <a:xfrm>
              <a:off x="427227" y="3856724"/>
              <a:ext cx="995863" cy="1164073"/>
            </a:xfrm>
            <a:custGeom>
              <a:avLst/>
              <a:gdLst/>
              <a:ahLst/>
              <a:cxnLst/>
              <a:rect l="l" t="t" r="r" b="b"/>
              <a:pathLst>
                <a:path w="778" h="910" extrusionOk="0">
                  <a:moveTo>
                    <a:pt x="754" y="145"/>
                  </a:moveTo>
                  <a:cubicBezTo>
                    <a:pt x="0" y="898"/>
                    <a:pt x="0" y="898"/>
                    <a:pt x="0" y="898"/>
                  </a:cubicBezTo>
                  <a:cubicBezTo>
                    <a:pt x="2" y="902"/>
                    <a:pt x="4" y="906"/>
                    <a:pt x="5" y="910"/>
                  </a:cubicBezTo>
                  <a:cubicBezTo>
                    <a:pt x="748" y="167"/>
                    <a:pt x="748" y="167"/>
                    <a:pt x="748" y="167"/>
                  </a:cubicBezTo>
                  <a:cubicBezTo>
                    <a:pt x="764" y="183"/>
                    <a:pt x="764" y="183"/>
                    <a:pt x="764" y="183"/>
                  </a:cubicBezTo>
                  <a:cubicBezTo>
                    <a:pt x="778" y="169"/>
                    <a:pt x="778" y="169"/>
                    <a:pt x="778" y="169"/>
                  </a:cubicBezTo>
                  <a:cubicBezTo>
                    <a:pt x="754" y="145"/>
                    <a:pt x="754" y="145"/>
                    <a:pt x="754" y="145"/>
                  </a:cubicBezTo>
                  <a:moveTo>
                    <a:pt x="608" y="0"/>
                  </a:moveTo>
                  <a:cubicBezTo>
                    <a:pt x="580" y="0"/>
                    <a:pt x="580" y="0"/>
                    <a:pt x="580" y="0"/>
                  </a:cubicBezTo>
                  <a:cubicBezTo>
                    <a:pt x="642" y="61"/>
                    <a:pt x="642" y="61"/>
                    <a:pt x="642" y="61"/>
                  </a:cubicBezTo>
                  <a:cubicBezTo>
                    <a:pt x="656" y="47"/>
                    <a:pt x="656" y="47"/>
                    <a:pt x="656" y="47"/>
                  </a:cubicBezTo>
                  <a:cubicBezTo>
                    <a:pt x="608" y="0"/>
                    <a:pt x="608" y="0"/>
                    <a:pt x="608" y="0"/>
                  </a:cubicBezTo>
                </a:path>
              </a:pathLst>
            </a:custGeom>
            <a:solidFill>
              <a:schemeClr val="accent2">
                <a:lumMod val="75000"/>
                <a:alpha val="18000"/>
              </a:schemeClr>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69" name="Google Shape;1499;p8">
              <a:extLst>
                <a:ext uri="{FF2B5EF4-FFF2-40B4-BE49-F238E27FC236}">
                  <a16:creationId xmlns:a16="http://schemas.microsoft.com/office/drawing/2014/main" id="{EDC2C525-0888-4DA3-95E2-42142CAD10B0}"/>
                </a:ext>
              </a:extLst>
            </p:cNvPr>
            <p:cNvSpPr/>
            <p:nvPr/>
          </p:nvSpPr>
          <p:spPr>
            <a:xfrm>
              <a:off x="223291" y="5017821"/>
              <a:ext cx="200959" cy="193516"/>
            </a:xfrm>
            <a:custGeom>
              <a:avLst/>
              <a:gdLst/>
              <a:ahLst/>
              <a:cxnLst/>
              <a:rect l="l" t="t" r="r" b="b"/>
              <a:pathLst>
                <a:path w="156" h="151" extrusionOk="0">
                  <a:moveTo>
                    <a:pt x="150" y="0"/>
                  </a:moveTo>
                  <a:cubicBezTo>
                    <a:pt x="0" y="151"/>
                    <a:pt x="0" y="151"/>
                    <a:pt x="0" y="151"/>
                  </a:cubicBezTo>
                  <a:cubicBezTo>
                    <a:pt x="6" y="149"/>
                    <a:pt x="13" y="148"/>
                    <a:pt x="20" y="147"/>
                  </a:cubicBezTo>
                  <a:cubicBezTo>
                    <a:pt x="156" y="11"/>
                    <a:pt x="156" y="11"/>
                    <a:pt x="156" y="11"/>
                  </a:cubicBezTo>
                  <a:cubicBezTo>
                    <a:pt x="154" y="7"/>
                    <a:pt x="152" y="4"/>
                    <a:pt x="150" y="0"/>
                  </a:cubicBezTo>
                </a:path>
              </a:pathLst>
            </a:custGeom>
            <a:solidFill>
              <a:srgbClr val="A3A3A3"/>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70" name="Google Shape;1500;p8">
              <a:extLst>
                <a:ext uri="{FF2B5EF4-FFF2-40B4-BE49-F238E27FC236}">
                  <a16:creationId xmlns:a16="http://schemas.microsoft.com/office/drawing/2014/main" id="{B776794E-2E6D-4763-A880-970FE982AB43}"/>
                </a:ext>
              </a:extLst>
            </p:cNvPr>
            <p:cNvSpPr/>
            <p:nvPr/>
          </p:nvSpPr>
          <p:spPr>
            <a:xfrm>
              <a:off x="415317" y="5005912"/>
              <a:ext cx="17864" cy="25305"/>
            </a:xfrm>
            <a:custGeom>
              <a:avLst/>
              <a:gdLst/>
              <a:ahLst/>
              <a:cxnLst/>
              <a:rect l="l" t="t" r="r" b="b"/>
              <a:pathLst>
                <a:path w="14" h="20" extrusionOk="0">
                  <a:moveTo>
                    <a:pt x="9" y="0"/>
                  </a:moveTo>
                  <a:cubicBezTo>
                    <a:pt x="0" y="9"/>
                    <a:pt x="0" y="9"/>
                    <a:pt x="0" y="9"/>
                  </a:cubicBezTo>
                  <a:cubicBezTo>
                    <a:pt x="2" y="13"/>
                    <a:pt x="4" y="16"/>
                    <a:pt x="6" y="20"/>
                  </a:cubicBezTo>
                  <a:cubicBezTo>
                    <a:pt x="14" y="12"/>
                    <a:pt x="14" y="12"/>
                    <a:pt x="14" y="12"/>
                  </a:cubicBezTo>
                  <a:cubicBezTo>
                    <a:pt x="13" y="8"/>
                    <a:pt x="11" y="4"/>
                    <a:pt x="9" y="0"/>
                  </a:cubicBezTo>
                </a:path>
              </a:pathLst>
            </a:custGeom>
            <a:solidFill>
              <a:srgbClr val="B2B2B2"/>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71" name="Google Shape;1501;p8">
              <a:extLst>
                <a:ext uri="{FF2B5EF4-FFF2-40B4-BE49-F238E27FC236}">
                  <a16:creationId xmlns:a16="http://schemas.microsoft.com/office/drawing/2014/main" id="{FE8885E8-AB50-4943-BDD6-566C7DDA04DB}"/>
                </a:ext>
              </a:extLst>
            </p:cNvPr>
            <p:cNvSpPr/>
            <p:nvPr/>
          </p:nvSpPr>
          <p:spPr>
            <a:xfrm>
              <a:off x="1405227" y="4072568"/>
              <a:ext cx="68475" cy="86337"/>
            </a:xfrm>
            <a:custGeom>
              <a:avLst/>
              <a:gdLst/>
              <a:ahLst/>
              <a:cxnLst/>
              <a:rect l="l" t="t" r="r" b="b"/>
              <a:pathLst>
                <a:path w="46" h="57" extrusionOk="0">
                  <a:moveTo>
                    <a:pt x="12" y="0"/>
                  </a:moveTo>
                  <a:lnTo>
                    <a:pt x="12" y="0"/>
                  </a:lnTo>
                  <a:lnTo>
                    <a:pt x="0" y="12"/>
                  </a:lnTo>
                  <a:lnTo>
                    <a:pt x="10" y="22"/>
                  </a:lnTo>
                  <a:lnTo>
                    <a:pt x="46" y="58"/>
                  </a:lnTo>
                  <a:lnTo>
                    <a:pt x="46" y="34"/>
                  </a:lnTo>
                  <a:lnTo>
                    <a:pt x="22" y="11"/>
                  </a:lnTo>
                  <a:lnTo>
                    <a:pt x="12" y="0"/>
                  </a:lnTo>
                  <a:close/>
                </a:path>
              </a:pathLst>
            </a:custGeom>
            <a:solidFill>
              <a:srgbClr val="B9B494"/>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72" name="Google Shape;1502;p8">
              <a:extLst>
                <a:ext uri="{FF2B5EF4-FFF2-40B4-BE49-F238E27FC236}">
                  <a16:creationId xmlns:a16="http://schemas.microsoft.com/office/drawing/2014/main" id="{2538C6DD-3EC4-4B1B-801C-45BECBFB94A3}"/>
                </a:ext>
              </a:extLst>
            </p:cNvPr>
            <p:cNvSpPr/>
            <p:nvPr/>
          </p:nvSpPr>
          <p:spPr>
            <a:xfrm>
              <a:off x="1405227" y="4072568"/>
              <a:ext cx="68475" cy="86337"/>
            </a:xfrm>
            <a:custGeom>
              <a:avLst/>
              <a:gdLst/>
              <a:ahLst/>
              <a:cxnLst/>
              <a:rect l="l" t="t" r="r" b="b"/>
              <a:pathLst>
                <a:path w="46" h="57" extrusionOk="0">
                  <a:moveTo>
                    <a:pt x="12" y="0"/>
                  </a:moveTo>
                  <a:lnTo>
                    <a:pt x="12" y="0"/>
                  </a:lnTo>
                  <a:lnTo>
                    <a:pt x="0" y="12"/>
                  </a:lnTo>
                  <a:lnTo>
                    <a:pt x="10" y="22"/>
                  </a:lnTo>
                  <a:lnTo>
                    <a:pt x="46" y="58"/>
                  </a:lnTo>
                  <a:lnTo>
                    <a:pt x="46" y="34"/>
                  </a:lnTo>
                  <a:lnTo>
                    <a:pt x="22" y="11"/>
                  </a:lnTo>
                  <a:lnTo>
                    <a:pt x="12" y="0"/>
                  </a:lnTo>
                </a:path>
              </a:pathLst>
            </a:custGeom>
            <a:solidFill>
              <a:schemeClr val="accent2">
                <a:lumMod val="75000"/>
              </a:schemeClr>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73" name="Google Shape;1505;p8">
              <a:extLst>
                <a:ext uri="{FF2B5EF4-FFF2-40B4-BE49-F238E27FC236}">
                  <a16:creationId xmlns:a16="http://schemas.microsoft.com/office/drawing/2014/main" id="{2DC03502-205F-4CED-BB09-652E97ACD26D}"/>
                </a:ext>
              </a:extLst>
            </p:cNvPr>
            <p:cNvSpPr/>
            <p:nvPr/>
          </p:nvSpPr>
          <p:spPr>
            <a:xfrm>
              <a:off x="2054250" y="3527745"/>
              <a:ext cx="723452" cy="723452"/>
            </a:xfrm>
            <a:custGeom>
              <a:avLst/>
              <a:gdLst/>
              <a:ahLst/>
              <a:cxnLst/>
              <a:rect l="l" t="t" r="r" b="b"/>
              <a:pathLst>
                <a:path w="486" h="486" extrusionOk="0">
                  <a:moveTo>
                    <a:pt x="354" y="296"/>
                  </a:moveTo>
                  <a:lnTo>
                    <a:pt x="242" y="409"/>
                  </a:lnTo>
                  <a:lnTo>
                    <a:pt x="277" y="409"/>
                  </a:lnTo>
                  <a:lnTo>
                    <a:pt x="343" y="343"/>
                  </a:lnTo>
                  <a:lnTo>
                    <a:pt x="409" y="409"/>
                  </a:lnTo>
                  <a:lnTo>
                    <a:pt x="409" y="409"/>
                  </a:lnTo>
                  <a:lnTo>
                    <a:pt x="419" y="409"/>
                  </a:lnTo>
                  <a:lnTo>
                    <a:pt x="419" y="418"/>
                  </a:lnTo>
                  <a:lnTo>
                    <a:pt x="419" y="418"/>
                  </a:lnTo>
                  <a:lnTo>
                    <a:pt x="486" y="486"/>
                  </a:lnTo>
                  <a:lnTo>
                    <a:pt x="486" y="429"/>
                  </a:lnTo>
                  <a:lnTo>
                    <a:pt x="354" y="296"/>
                  </a:lnTo>
                  <a:close/>
                  <a:moveTo>
                    <a:pt x="57" y="0"/>
                  </a:moveTo>
                  <a:lnTo>
                    <a:pt x="0" y="0"/>
                  </a:lnTo>
                  <a:lnTo>
                    <a:pt x="125" y="125"/>
                  </a:lnTo>
                  <a:lnTo>
                    <a:pt x="125" y="125"/>
                  </a:lnTo>
                  <a:lnTo>
                    <a:pt x="155" y="97"/>
                  </a:lnTo>
                  <a:lnTo>
                    <a:pt x="57" y="0"/>
                  </a:lnTo>
                  <a:close/>
                </a:path>
              </a:pathLst>
            </a:custGeom>
            <a:solidFill>
              <a:srgbClr val="0F5370"/>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74" name="Shape6_20220719_154026">
              <a:extLst>
                <a:ext uri="{FF2B5EF4-FFF2-40B4-BE49-F238E27FC236}">
                  <a16:creationId xmlns:a16="http://schemas.microsoft.com/office/drawing/2014/main" id="{1DF96DFB-3494-4D43-80F1-083C3A44F8CF}"/>
                </a:ext>
              </a:extLst>
            </p:cNvPr>
            <p:cNvSpPr/>
            <p:nvPr/>
          </p:nvSpPr>
          <p:spPr>
            <a:xfrm>
              <a:off x="2054250" y="3527745"/>
              <a:ext cx="723452" cy="723452"/>
            </a:xfrm>
            <a:custGeom>
              <a:avLst/>
              <a:gdLst/>
              <a:ahLst/>
              <a:cxnLst/>
              <a:rect l="l" t="t" r="r" b="b"/>
              <a:pathLst>
                <a:path w="486" h="486" extrusionOk="0">
                  <a:moveTo>
                    <a:pt x="354" y="296"/>
                  </a:moveTo>
                  <a:lnTo>
                    <a:pt x="242" y="409"/>
                  </a:lnTo>
                  <a:lnTo>
                    <a:pt x="277" y="409"/>
                  </a:lnTo>
                  <a:lnTo>
                    <a:pt x="343" y="343"/>
                  </a:lnTo>
                  <a:lnTo>
                    <a:pt x="409" y="409"/>
                  </a:lnTo>
                  <a:lnTo>
                    <a:pt x="409" y="409"/>
                  </a:lnTo>
                  <a:lnTo>
                    <a:pt x="419" y="409"/>
                  </a:lnTo>
                  <a:lnTo>
                    <a:pt x="419" y="418"/>
                  </a:lnTo>
                  <a:lnTo>
                    <a:pt x="419" y="418"/>
                  </a:lnTo>
                  <a:lnTo>
                    <a:pt x="486" y="486"/>
                  </a:lnTo>
                  <a:lnTo>
                    <a:pt x="486" y="429"/>
                  </a:lnTo>
                  <a:lnTo>
                    <a:pt x="354" y="296"/>
                  </a:lnTo>
                  <a:moveTo>
                    <a:pt x="57" y="0"/>
                  </a:moveTo>
                  <a:lnTo>
                    <a:pt x="0" y="0"/>
                  </a:lnTo>
                  <a:lnTo>
                    <a:pt x="125" y="125"/>
                  </a:lnTo>
                  <a:lnTo>
                    <a:pt x="125" y="125"/>
                  </a:lnTo>
                  <a:lnTo>
                    <a:pt x="155" y="97"/>
                  </a:lnTo>
                  <a:lnTo>
                    <a:pt x="57" y="0"/>
                  </a:lnTo>
                </a:path>
              </a:pathLst>
            </a:custGeom>
            <a:solidFill>
              <a:schemeClr val="bg2">
                <a:lumMod val="90000"/>
              </a:schemeClr>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75" name="Google Shape;1507;p8">
              <a:extLst>
                <a:ext uri="{FF2B5EF4-FFF2-40B4-BE49-F238E27FC236}">
                  <a16:creationId xmlns:a16="http://schemas.microsoft.com/office/drawing/2014/main" id="{398BDB33-005A-4834-B089-BDE96FB7DA00}"/>
                </a:ext>
              </a:extLst>
            </p:cNvPr>
            <p:cNvSpPr/>
            <p:nvPr/>
          </p:nvSpPr>
          <p:spPr>
            <a:xfrm>
              <a:off x="1445419" y="4461089"/>
              <a:ext cx="683261" cy="669864"/>
            </a:xfrm>
            <a:custGeom>
              <a:avLst/>
              <a:gdLst/>
              <a:ahLst/>
              <a:cxnLst/>
              <a:rect l="l" t="t" r="r" b="b"/>
              <a:pathLst>
                <a:path w="533" h="524" extrusionOk="0">
                  <a:moveTo>
                    <a:pt x="504" y="0"/>
                  </a:moveTo>
                  <a:cubicBezTo>
                    <a:pt x="0" y="503"/>
                    <a:pt x="0" y="503"/>
                    <a:pt x="0" y="503"/>
                  </a:cubicBezTo>
                  <a:cubicBezTo>
                    <a:pt x="7" y="510"/>
                    <a:pt x="14" y="517"/>
                    <a:pt x="20" y="524"/>
                  </a:cubicBezTo>
                  <a:cubicBezTo>
                    <a:pt x="533" y="11"/>
                    <a:pt x="533" y="11"/>
                    <a:pt x="533" y="11"/>
                  </a:cubicBezTo>
                  <a:cubicBezTo>
                    <a:pt x="523" y="7"/>
                    <a:pt x="513" y="4"/>
                    <a:pt x="504" y="0"/>
                  </a:cubicBezTo>
                </a:path>
              </a:pathLst>
            </a:custGeom>
            <a:solidFill>
              <a:schemeClr val="accent4">
                <a:lumMod val="20000"/>
                <a:lumOff val="80000"/>
                <a:alpha val="44000"/>
              </a:schemeClr>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76" name="Google Shape;1509;p8">
              <a:extLst>
                <a:ext uri="{FF2B5EF4-FFF2-40B4-BE49-F238E27FC236}">
                  <a16:creationId xmlns:a16="http://schemas.microsoft.com/office/drawing/2014/main" id="{85AC106D-F21C-421E-9E7B-7A3EAA0699E5}"/>
                </a:ext>
              </a:extLst>
            </p:cNvPr>
            <p:cNvSpPr/>
            <p:nvPr/>
          </p:nvSpPr>
          <p:spPr>
            <a:xfrm>
              <a:off x="2115282" y="4286923"/>
              <a:ext cx="174165" cy="163744"/>
            </a:xfrm>
            <a:custGeom>
              <a:avLst/>
              <a:gdLst/>
              <a:ahLst/>
              <a:cxnLst/>
              <a:rect l="l" t="t" r="r" b="b"/>
              <a:pathLst>
                <a:path w="136" h="128" extrusionOk="0">
                  <a:moveTo>
                    <a:pt x="116" y="0"/>
                  </a:moveTo>
                  <a:cubicBezTo>
                    <a:pt x="0" y="116"/>
                    <a:pt x="0" y="116"/>
                    <a:pt x="0" y="116"/>
                  </a:cubicBezTo>
                  <a:cubicBezTo>
                    <a:pt x="10" y="120"/>
                    <a:pt x="20" y="124"/>
                    <a:pt x="30" y="128"/>
                  </a:cubicBezTo>
                  <a:cubicBezTo>
                    <a:pt x="136" y="21"/>
                    <a:pt x="136" y="21"/>
                    <a:pt x="136" y="21"/>
                  </a:cubicBezTo>
                  <a:cubicBezTo>
                    <a:pt x="136" y="21"/>
                    <a:pt x="136" y="21"/>
                    <a:pt x="136" y="21"/>
                  </a:cubicBezTo>
                  <a:cubicBezTo>
                    <a:pt x="116" y="0"/>
                    <a:pt x="116" y="0"/>
                    <a:pt x="116" y="0"/>
                  </a:cubicBezTo>
                </a:path>
              </a:pathLst>
            </a:custGeom>
            <a:solidFill>
              <a:schemeClr val="accent4">
                <a:lumMod val="20000"/>
                <a:lumOff val="80000"/>
                <a:alpha val="44000"/>
              </a:schemeClr>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77" name="Google Shape;1510;p8">
              <a:extLst>
                <a:ext uri="{FF2B5EF4-FFF2-40B4-BE49-F238E27FC236}">
                  <a16:creationId xmlns:a16="http://schemas.microsoft.com/office/drawing/2014/main" id="{D9B06386-CBA6-4A2A-8B21-6CDA1CC56A4A}"/>
                </a:ext>
              </a:extLst>
            </p:cNvPr>
            <p:cNvSpPr/>
            <p:nvPr/>
          </p:nvSpPr>
          <p:spPr>
            <a:xfrm>
              <a:off x="1293583" y="5120531"/>
              <a:ext cx="162256" cy="171188"/>
            </a:xfrm>
            <a:custGeom>
              <a:avLst/>
              <a:gdLst/>
              <a:ahLst/>
              <a:cxnLst/>
              <a:rect l="l" t="t" r="r" b="b"/>
              <a:pathLst>
                <a:path w="127" h="133" extrusionOk="0">
                  <a:moveTo>
                    <a:pt x="106" y="0"/>
                  </a:moveTo>
                  <a:cubicBezTo>
                    <a:pt x="0" y="106"/>
                    <a:pt x="0" y="106"/>
                    <a:pt x="0" y="106"/>
                  </a:cubicBezTo>
                  <a:cubicBezTo>
                    <a:pt x="5" y="115"/>
                    <a:pt x="10" y="124"/>
                    <a:pt x="14" y="133"/>
                  </a:cubicBezTo>
                  <a:cubicBezTo>
                    <a:pt x="127" y="20"/>
                    <a:pt x="127" y="20"/>
                    <a:pt x="127" y="20"/>
                  </a:cubicBezTo>
                  <a:cubicBezTo>
                    <a:pt x="120" y="13"/>
                    <a:pt x="113" y="7"/>
                    <a:pt x="106" y="0"/>
                  </a:cubicBezTo>
                </a:path>
              </a:pathLst>
            </a:custGeom>
            <a:solidFill>
              <a:srgbClr val="A3A3A3"/>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78" name="Google Shape;1511;p8">
              <a:extLst>
                <a:ext uri="{FF2B5EF4-FFF2-40B4-BE49-F238E27FC236}">
                  <a16:creationId xmlns:a16="http://schemas.microsoft.com/office/drawing/2014/main" id="{7C862C40-4539-44FB-B883-A6E8F1DE82FB}"/>
                </a:ext>
              </a:extLst>
            </p:cNvPr>
            <p:cNvSpPr/>
            <p:nvPr/>
          </p:nvSpPr>
          <p:spPr>
            <a:xfrm>
              <a:off x="1429045" y="5104158"/>
              <a:ext cx="43169" cy="43169"/>
            </a:xfrm>
            <a:custGeom>
              <a:avLst/>
              <a:gdLst/>
              <a:ahLst/>
              <a:cxnLst/>
              <a:rect l="l" t="t" r="r" b="b"/>
              <a:pathLst>
                <a:path w="33" h="33" extrusionOk="0">
                  <a:moveTo>
                    <a:pt x="13" y="0"/>
                  </a:moveTo>
                  <a:cubicBezTo>
                    <a:pt x="0" y="13"/>
                    <a:pt x="0" y="13"/>
                    <a:pt x="0" y="13"/>
                  </a:cubicBezTo>
                  <a:cubicBezTo>
                    <a:pt x="7" y="20"/>
                    <a:pt x="14" y="26"/>
                    <a:pt x="21" y="33"/>
                  </a:cubicBezTo>
                  <a:cubicBezTo>
                    <a:pt x="33" y="21"/>
                    <a:pt x="33" y="21"/>
                    <a:pt x="33" y="21"/>
                  </a:cubicBezTo>
                  <a:cubicBezTo>
                    <a:pt x="27" y="14"/>
                    <a:pt x="20" y="7"/>
                    <a:pt x="13" y="0"/>
                  </a:cubicBezTo>
                </a:path>
              </a:pathLst>
            </a:custGeom>
            <a:solidFill>
              <a:srgbClr val="B2B2B2"/>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79" name="Google Shape;1512;p8">
              <a:extLst>
                <a:ext uri="{FF2B5EF4-FFF2-40B4-BE49-F238E27FC236}">
                  <a16:creationId xmlns:a16="http://schemas.microsoft.com/office/drawing/2014/main" id="{58893D80-6317-478C-9882-B048809C9604}"/>
                </a:ext>
              </a:extLst>
            </p:cNvPr>
            <p:cNvSpPr/>
            <p:nvPr/>
          </p:nvSpPr>
          <p:spPr>
            <a:xfrm>
              <a:off x="2264141" y="4257154"/>
              <a:ext cx="56567" cy="56565"/>
            </a:xfrm>
            <a:custGeom>
              <a:avLst/>
              <a:gdLst/>
              <a:ahLst/>
              <a:cxnLst/>
              <a:rect l="l" t="t" r="r" b="b"/>
              <a:pathLst>
                <a:path w="38" h="38" extrusionOk="0">
                  <a:moveTo>
                    <a:pt x="20" y="0"/>
                  </a:moveTo>
                  <a:lnTo>
                    <a:pt x="0" y="20"/>
                  </a:lnTo>
                  <a:lnTo>
                    <a:pt x="0" y="20"/>
                  </a:lnTo>
                  <a:lnTo>
                    <a:pt x="17" y="38"/>
                  </a:lnTo>
                  <a:lnTo>
                    <a:pt x="17" y="38"/>
                  </a:lnTo>
                  <a:lnTo>
                    <a:pt x="17" y="38"/>
                  </a:lnTo>
                  <a:lnTo>
                    <a:pt x="38" y="18"/>
                  </a:lnTo>
                  <a:lnTo>
                    <a:pt x="20" y="0"/>
                  </a:lnTo>
                  <a:close/>
                </a:path>
              </a:pathLst>
            </a:custGeom>
            <a:solidFill>
              <a:srgbClr val="0F5370"/>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80" name="Google Shape;1513;p8">
              <a:extLst>
                <a:ext uri="{FF2B5EF4-FFF2-40B4-BE49-F238E27FC236}">
                  <a16:creationId xmlns:a16="http://schemas.microsoft.com/office/drawing/2014/main" id="{5398812C-1474-4BF4-A93C-41E1D499FDD8}"/>
                </a:ext>
              </a:extLst>
            </p:cNvPr>
            <p:cNvSpPr/>
            <p:nvPr/>
          </p:nvSpPr>
          <p:spPr>
            <a:xfrm>
              <a:off x="2264141" y="4257154"/>
              <a:ext cx="56567" cy="56565"/>
            </a:xfrm>
            <a:custGeom>
              <a:avLst/>
              <a:gdLst/>
              <a:ahLst/>
              <a:cxnLst/>
              <a:rect l="l" t="t" r="r" b="b"/>
              <a:pathLst>
                <a:path w="38" h="38" extrusionOk="0">
                  <a:moveTo>
                    <a:pt x="20" y="0"/>
                  </a:moveTo>
                  <a:lnTo>
                    <a:pt x="0" y="20"/>
                  </a:lnTo>
                  <a:lnTo>
                    <a:pt x="0" y="20"/>
                  </a:lnTo>
                  <a:lnTo>
                    <a:pt x="17" y="38"/>
                  </a:lnTo>
                  <a:lnTo>
                    <a:pt x="17" y="38"/>
                  </a:lnTo>
                  <a:lnTo>
                    <a:pt x="17" y="38"/>
                  </a:lnTo>
                  <a:lnTo>
                    <a:pt x="38" y="18"/>
                  </a:lnTo>
                  <a:lnTo>
                    <a:pt x="20" y="0"/>
                  </a:lnTo>
                </a:path>
              </a:pathLst>
            </a:custGeom>
            <a:solidFill>
              <a:schemeClr val="accent4">
                <a:lumMod val="20000"/>
                <a:lumOff val="80000"/>
              </a:schemeClr>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81" name="Google Shape;1514;p8">
              <a:extLst>
                <a:ext uri="{FF2B5EF4-FFF2-40B4-BE49-F238E27FC236}">
                  <a16:creationId xmlns:a16="http://schemas.microsoft.com/office/drawing/2014/main" id="{72ECC24F-1F4E-4FA5-B570-D9B3E1816949}"/>
                </a:ext>
              </a:extLst>
            </p:cNvPr>
            <p:cNvSpPr/>
            <p:nvPr/>
          </p:nvSpPr>
          <p:spPr>
            <a:xfrm>
              <a:off x="2293913" y="4136578"/>
              <a:ext cx="384055" cy="147369"/>
            </a:xfrm>
            <a:custGeom>
              <a:avLst/>
              <a:gdLst/>
              <a:ahLst/>
              <a:cxnLst/>
              <a:rect l="l" t="t" r="r" b="b"/>
              <a:pathLst>
                <a:path w="258" h="99" extrusionOk="0">
                  <a:moveTo>
                    <a:pt x="248" y="0"/>
                  </a:moveTo>
                  <a:lnTo>
                    <a:pt x="258" y="9"/>
                  </a:lnTo>
                  <a:lnTo>
                    <a:pt x="258" y="0"/>
                  </a:lnTo>
                  <a:lnTo>
                    <a:pt x="248" y="0"/>
                  </a:lnTo>
                  <a:close/>
                  <a:moveTo>
                    <a:pt x="116" y="0"/>
                  </a:moveTo>
                  <a:lnTo>
                    <a:pt x="81" y="0"/>
                  </a:lnTo>
                  <a:lnTo>
                    <a:pt x="49" y="32"/>
                  </a:lnTo>
                  <a:lnTo>
                    <a:pt x="0" y="81"/>
                  </a:lnTo>
                  <a:lnTo>
                    <a:pt x="0" y="81"/>
                  </a:lnTo>
                  <a:lnTo>
                    <a:pt x="18" y="99"/>
                  </a:lnTo>
                  <a:lnTo>
                    <a:pt x="18" y="99"/>
                  </a:lnTo>
                  <a:lnTo>
                    <a:pt x="84" y="32"/>
                  </a:lnTo>
                  <a:lnTo>
                    <a:pt x="116" y="0"/>
                  </a:lnTo>
                  <a:close/>
                </a:path>
              </a:pathLst>
            </a:custGeom>
            <a:solidFill>
              <a:schemeClr val="accent4">
                <a:lumMod val="20000"/>
                <a:lumOff val="80000"/>
                <a:alpha val="18000"/>
              </a:schemeClr>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82" name="Google Shape;1515;p8">
              <a:extLst>
                <a:ext uri="{FF2B5EF4-FFF2-40B4-BE49-F238E27FC236}">
                  <a16:creationId xmlns:a16="http://schemas.microsoft.com/office/drawing/2014/main" id="{B3E277BD-53DD-4E7E-A428-5A62BF16389E}"/>
                </a:ext>
              </a:extLst>
            </p:cNvPr>
            <p:cNvSpPr/>
            <p:nvPr/>
          </p:nvSpPr>
          <p:spPr>
            <a:xfrm>
              <a:off x="2293913" y="4136578"/>
              <a:ext cx="384055" cy="147369"/>
            </a:xfrm>
            <a:custGeom>
              <a:avLst/>
              <a:gdLst/>
              <a:ahLst/>
              <a:cxnLst/>
              <a:rect l="l" t="t" r="r" b="b"/>
              <a:pathLst>
                <a:path w="258" h="99" extrusionOk="0">
                  <a:moveTo>
                    <a:pt x="248" y="0"/>
                  </a:moveTo>
                  <a:lnTo>
                    <a:pt x="258" y="9"/>
                  </a:lnTo>
                  <a:lnTo>
                    <a:pt x="258" y="0"/>
                  </a:lnTo>
                  <a:lnTo>
                    <a:pt x="248" y="0"/>
                  </a:lnTo>
                  <a:moveTo>
                    <a:pt x="116" y="0"/>
                  </a:moveTo>
                  <a:lnTo>
                    <a:pt x="81" y="0"/>
                  </a:lnTo>
                  <a:lnTo>
                    <a:pt x="49" y="32"/>
                  </a:lnTo>
                  <a:lnTo>
                    <a:pt x="0" y="81"/>
                  </a:lnTo>
                  <a:lnTo>
                    <a:pt x="0" y="81"/>
                  </a:lnTo>
                  <a:lnTo>
                    <a:pt x="18" y="99"/>
                  </a:lnTo>
                  <a:lnTo>
                    <a:pt x="18" y="99"/>
                  </a:lnTo>
                  <a:lnTo>
                    <a:pt x="84" y="32"/>
                  </a:lnTo>
                  <a:lnTo>
                    <a:pt x="116" y="0"/>
                  </a:lnTo>
                </a:path>
              </a:pathLst>
            </a:custGeom>
            <a:no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83" name="Google Shape;1516;p8">
              <a:extLst>
                <a:ext uri="{FF2B5EF4-FFF2-40B4-BE49-F238E27FC236}">
                  <a16:creationId xmlns:a16="http://schemas.microsoft.com/office/drawing/2014/main" id="{B537F71E-FADC-4C15-8B8B-D57C837A5AB3}"/>
                </a:ext>
              </a:extLst>
            </p:cNvPr>
            <p:cNvSpPr/>
            <p:nvPr/>
          </p:nvSpPr>
          <p:spPr>
            <a:xfrm>
              <a:off x="302187" y="3457783"/>
              <a:ext cx="2491891" cy="2195664"/>
            </a:xfrm>
            <a:custGeom>
              <a:avLst/>
              <a:gdLst/>
              <a:ahLst/>
              <a:cxnLst/>
              <a:rect l="l" t="t" r="r" b="b"/>
              <a:pathLst>
                <a:path w="1674" h="1475" extrusionOk="0">
                  <a:moveTo>
                    <a:pt x="1674" y="486"/>
                  </a:moveTo>
                  <a:lnTo>
                    <a:pt x="1663" y="476"/>
                  </a:lnTo>
                  <a:lnTo>
                    <a:pt x="1531" y="343"/>
                  </a:lnTo>
                  <a:lnTo>
                    <a:pt x="1419" y="456"/>
                  </a:lnTo>
                  <a:lnTo>
                    <a:pt x="1387" y="488"/>
                  </a:lnTo>
                  <a:lnTo>
                    <a:pt x="1338" y="537"/>
                  </a:lnTo>
                  <a:lnTo>
                    <a:pt x="1338" y="537"/>
                  </a:lnTo>
                  <a:lnTo>
                    <a:pt x="1318" y="557"/>
                  </a:lnTo>
                  <a:lnTo>
                    <a:pt x="1318" y="557"/>
                  </a:lnTo>
                  <a:lnTo>
                    <a:pt x="400" y="1475"/>
                  </a:lnTo>
                  <a:lnTo>
                    <a:pt x="0" y="1475"/>
                  </a:lnTo>
                  <a:lnTo>
                    <a:pt x="1060" y="415"/>
                  </a:lnTo>
                  <a:lnTo>
                    <a:pt x="1078" y="397"/>
                  </a:lnTo>
                  <a:lnTo>
                    <a:pt x="1130" y="345"/>
                  </a:lnTo>
                  <a:lnTo>
                    <a:pt x="1136" y="338"/>
                  </a:lnTo>
                  <a:lnTo>
                    <a:pt x="1302" y="172"/>
                  </a:lnTo>
                  <a:lnTo>
                    <a:pt x="1332" y="144"/>
                  </a:lnTo>
                  <a:lnTo>
                    <a:pt x="1234" y="47"/>
                  </a:lnTo>
                  <a:lnTo>
                    <a:pt x="1188" y="0"/>
                  </a:lnTo>
                  <a:lnTo>
                    <a:pt x="1674" y="0"/>
                  </a:lnTo>
                  <a:lnTo>
                    <a:pt x="1674" y="486"/>
                  </a:lnTo>
                  <a:close/>
                </a:path>
              </a:pathLst>
            </a:custGeom>
            <a:solidFill>
              <a:schemeClr val="accent3">
                <a:lumMod val="100000"/>
              </a:schemeClr>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84" name="Google Shape;1517;p8">
              <a:extLst>
                <a:ext uri="{FF2B5EF4-FFF2-40B4-BE49-F238E27FC236}">
                  <a16:creationId xmlns:a16="http://schemas.microsoft.com/office/drawing/2014/main" id="{041D2FC7-07BB-4862-B916-FD0F91E351DE}"/>
                </a:ext>
              </a:extLst>
            </p:cNvPr>
            <p:cNvSpPr/>
            <p:nvPr/>
          </p:nvSpPr>
          <p:spPr>
            <a:xfrm>
              <a:off x="302187" y="3457783"/>
              <a:ext cx="2491891" cy="2195664"/>
            </a:xfrm>
            <a:custGeom>
              <a:avLst/>
              <a:gdLst/>
              <a:ahLst/>
              <a:cxnLst/>
              <a:rect l="l" t="t" r="r" b="b"/>
              <a:pathLst>
                <a:path w="1674" h="1475" extrusionOk="0">
                  <a:moveTo>
                    <a:pt x="1674" y="486"/>
                  </a:moveTo>
                  <a:lnTo>
                    <a:pt x="1663" y="476"/>
                  </a:lnTo>
                  <a:lnTo>
                    <a:pt x="1531" y="343"/>
                  </a:lnTo>
                  <a:lnTo>
                    <a:pt x="1419" y="456"/>
                  </a:lnTo>
                  <a:lnTo>
                    <a:pt x="1387" y="488"/>
                  </a:lnTo>
                  <a:lnTo>
                    <a:pt x="1338" y="537"/>
                  </a:lnTo>
                  <a:lnTo>
                    <a:pt x="1338" y="537"/>
                  </a:lnTo>
                  <a:lnTo>
                    <a:pt x="1318" y="557"/>
                  </a:lnTo>
                  <a:lnTo>
                    <a:pt x="1318" y="557"/>
                  </a:lnTo>
                  <a:lnTo>
                    <a:pt x="400" y="1475"/>
                  </a:lnTo>
                  <a:lnTo>
                    <a:pt x="0" y="1475"/>
                  </a:lnTo>
                  <a:lnTo>
                    <a:pt x="1060" y="415"/>
                  </a:lnTo>
                  <a:lnTo>
                    <a:pt x="1078" y="397"/>
                  </a:lnTo>
                  <a:lnTo>
                    <a:pt x="1130" y="345"/>
                  </a:lnTo>
                  <a:lnTo>
                    <a:pt x="1136" y="338"/>
                  </a:lnTo>
                  <a:lnTo>
                    <a:pt x="1302" y="172"/>
                  </a:lnTo>
                  <a:lnTo>
                    <a:pt x="1332" y="144"/>
                  </a:lnTo>
                  <a:lnTo>
                    <a:pt x="1234" y="47"/>
                  </a:lnTo>
                  <a:lnTo>
                    <a:pt x="1188" y="0"/>
                  </a:lnTo>
                  <a:lnTo>
                    <a:pt x="1674" y="0"/>
                  </a:lnTo>
                  <a:lnTo>
                    <a:pt x="1674" y="486"/>
                  </a:lnTo>
                </a:path>
              </a:pathLst>
            </a:custGeom>
            <a:no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85" name="Google Shape;1518;p8">
              <a:extLst>
                <a:ext uri="{FF2B5EF4-FFF2-40B4-BE49-F238E27FC236}">
                  <a16:creationId xmlns:a16="http://schemas.microsoft.com/office/drawing/2014/main" id="{AEF9DA3E-2DC6-4537-AEFB-8CAD6D29AAD8}"/>
                </a:ext>
              </a:extLst>
            </p:cNvPr>
            <p:cNvSpPr/>
            <p:nvPr/>
          </p:nvSpPr>
          <p:spPr>
            <a:xfrm>
              <a:off x="3" y="5020495"/>
              <a:ext cx="5119243" cy="652000"/>
            </a:xfrm>
            <a:custGeom>
              <a:avLst/>
              <a:gdLst/>
              <a:ahLst/>
              <a:cxnLst/>
              <a:rect l="l" t="t" r="r" b="b"/>
              <a:pathLst>
                <a:path w="4000" h="509" extrusionOk="0">
                  <a:moveTo>
                    <a:pt x="4000" y="41"/>
                  </a:moveTo>
                  <a:cubicBezTo>
                    <a:pt x="4000" y="509"/>
                    <a:pt x="4000" y="509"/>
                    <a:pt x="4000" y="509"/>
                  </a:cubicBezTo>
                  <a:cubicBezTo>
                    <a:pt x="0" y="509"/>
                    <a:pt x="0" y="509"/>
                    <a:pt x="0" y="509"/>
                  </a:cubicBezTo>
                  <a:cubicBezTo>
                    <a:pt x="0" y="0"/>
                    <a:pt x="0" y="0"/>
                    <a:pt x="0" y="0"/>
                  </a:cubicBezTo>
                  <a:cubicBezTo>
                    <a:pt x="72" y="35"/>
                    <a:pt x="131" y="93"/>
                    <a:pt x="168" y="164"/>
                  </a:cubicBezTo>
                  <a:cubicBezTo>
                    <a:pt x="186" y="160"/>
                    <a:pt x="204" y="157"/>
                    <a:pt x="223" y="157"/>
                  </a:cubicBezTo>
                  <a:cubicBezTo>
                    <a:pt x="287" y="157"/>
                    <a:pt x="345" y="185"/>
                    <a:pt x="385" y="230"/>
                  </a:cubicBezTo>
                  <a:cubicBezTo>
                    <a:pt x="416" y="213"/>
                    <a:pt x="452" y="203"/>
                    <a:pt x="490" y="203"/>
                  </a:cubicBezTo>
                  <a:cubicBezTo>
                    <a:pt x="506" y="203"/>
                    <a:pt x="521" y="205"/>
                    <a:pt x="536" y="208"/>
                  </a:cubicBezTo>
                  <a:cubicBezTo>
                    <a:pt x="583" y="124"/>
                    <a:pt x="673" y="67"/>
                    <a:pt x="776" y="67"/>
                  </a:cubicBezTo>
                  <a:cubicBezTo>
                    <a:pt x="917" y="67"/>
                    <a:pt x="1033" y="173"/>
                    <a:pt x="1048" y="309"/>
                  </a:cubicBezTo>
                  <a:cubicBezTo>
                    <a:pt x="1058" y="306"/>
                    <a:pt x="1068" y="303"/>
                    <a:pt x="1078" y="301"/>
                  </a:cubicBezTo>
                  <a:cubicBezTo>
                    <a:pt x="1133" y="238"/>
                    <a:pt x="1214" y="197"/>
                    <a:pt x="1305" y="197"/>
                  </a:cubicBezTo>
                  <a:cubicBezTo>
                    <a:pt x="1352" y="197"/>
                    <a:pt x="1397" y="208"/>
                    <a:pt x="1437" y="228"/>
                  </a:cubicBezTo>
                  <a:cubicBezTo>
                    <a:pt x="1476" y="197"/>
                    <a:pt x="1526" y="179"/>
                    <a:pt x="1580" y="179"/>
                  </a:cubicBezTo>
                  <a:cubicBezTo>
                    <a:pt x="1677" y="179"/>
                    <a:pt x="1760" y="237"/>
                    <a:pt x="1797" y="321"/>
                  </a:cubicBezTo>
                  <a:cubicBezTo>
                    <a:pt x="1821" y="310"/>
                    <a:pt x="1848" y="304"/>
                    <a:pt x="1877" y="304"/>
                  </a:cubicBezTo>
                  <a:cubicBezTo>
                    <a:pt x="1920" y="304"/>
                    <a:pt x="1961" y="318"/>
                    <a:pt x="1994" y="341"/>
                  </a:cubicBezTo>
                  <a:cubicBezTo>
                    <a:pt x="2023" y="267"/>
                    <a:pt x="2096" y="215"/>
                    <a:pt x="2180" y="215"/>
                  </a:cubicBezTo>
                  <a:cubicBezTo>
                    <a:pt x="2220" y="215"/>
                    <a:pt x="2256" y="226"/>
                    <a:pt x="2287" y="246"/>
                  </a:cubicBezTo>
                  <a:cubicBezTo>
                    <a:pt x="2341" y="168"/>
                    <a:pt x="2431" y="116"/>
                    <a:pt x="2534" y="116"/>
                  </a:cubicBezTo>
                  <a:cubicBezTo>
                    <a:pt x="2661" y="116"/>
                    <a:pt x="2770" y="196"/>
                    <a:pt x="2813" y="308"/>
                  </a:cubicBezTo>
                  <a:cubicBezTo>
                    <a:pt x="2856" y="214"/>
                    <a:pt x="2951" y="148"/>
                    <a:pt x="3062" y="148"/>
                  </a:cubicBezTo>
                  <a:cubicBezTo>
                    <a:pt x="3111" y="148"/>
                    <a:pt x="3157" y="161"/>
                    <a:pt x="3197" y="183"/>
                  </a:cubicBezTo>
                  <a:cubicBezTo>
                    <a:pt x="3236" y="145"/>
                    <a:pt x="3289" y="122"/>
                    <a:pt x="3348" y="122"/>
                  </a:cubicBezTo>
                  <a:cubicBezTo>
                    <a:pt x="3415" y="122"/>
                    <a:pt x="3475" y="152"/>
                    <a:pt x="3515" y="199"/>
                  </a:cubicBezTo>
                  <a:cubicBezTo>
                    <a:pt x="3538" y="188"/>
                    <a:pt x="3564" y="181"/>
                    <a:pt x="3591" y="181"/>
                  </a:cubicBezTo>
                  <a:cubicBezTo>
                    <a:pt x="3612" y="181"/>
                    <a:pt x="3632" y="185"/>
                    <a:pt x="3650" y="192"/>
                  </a:cubicBezTo>
                  <a:cubicBezTo>
                    <a:pt x="3674" y="97"/>
                    <a:pt x="3760" y="27"/>
                    <a:pt x="3863" y="27"/>
                  </a:cubicBezTo>
                  <a:cubicBezTo>
                    <a:pt x="3894" y="27"/>
                    <a:pt x="3924" y="33"/>
                    <a:pt x="3950" y="45"/>
                  </a:cubicBezTo>
                  <a:cubicBezTo>
                    <a:pt x="3967" y="43"/>
                    <a:pt x="3983" y="41"/>
                    <a:pt x="4000" y="41"/>
                  </a:cubicBezTo>
                </a:path>
              </a:pathLst>
            </a:custGeom>
            <a:solidFill>
              <a:srgbClr val="7ACAED"/>
            </a:solidFill>
            <a:ln>
              <a:noFill/>
            </a:ln>
            <a:effectLst/>
          </p:spPr>
          <p:txBody>
            <a:bodyPr spcFirstLastPara="1" wrap="square" lIns="68569" tIns="34275" rIns="68569" bIns="34275"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Clr>
                  <a:srgbClr val="000000"/>
                </a:buClr>
                <a:buSzPts val="1400"/>
              </a:pPr>
              <a:endParaRPr sz="1050">
                <a:solidFill>
                  <a:srgbClr val="000000"/>
                </a:solidFill>
                <a:latin typeface="Helvetica"/>
                <a:cs typeface="Helvetica"/>
                <a:sym typeface="Helvetica"/>
              </a:endParaRPr>
            </a:p>
          </p:txBody>
        </p:sp>
        <p:sp>
          <p:nvSpPr>
            <p:cNvPr id="386" name="Google Shape;1519;p8">
              <a:extLst>
                <a:ext uri="{FF2B5EF4-FFF2-40B4-BE49-F238E27FC236}">
                  <a16:creationId xmlns:a16="http://schemas.microsoft.com/office/drawing/2014/main" id="{8A136E0A-B3B9-431D-B781-C1759E12DE6B}"/>
                </a:ext>
              </a:extLst>
            </p:cNvPr>
            <p:cNvSpPr/>
            <p:nvPr/>
          </p:nvSpPr>
          <p:spPr>
            <a:xfrm>
              <a:off x="3" y="5001446"/>
              <a:ext cx="5119243" cy="437644"/>
            </a:xfrm>
            <a:custGeom>
              <a:avLst/>
              <a:gdLst/>
              <a:ahLst/>
              <a:cxnLst/>
              <a:rect l="l" t="t" r="r" b="b"/>
              <a:pathLst>
                <a:path w="4000" h="341" extrusionOk="0">
                  <a:moveTo>
                    <a:pt x="1395" y="211"/>
                  </a:moveTo>
                  <a:cubicBezTo>
                    <a:pt x="1395" y="211"/>
                    <a:pt x="1395" y="211"/>
                    <a:pt x="1395" y="211"/>
                  </a:cubicBezTo>
                  <a:cubicBezTo>
                    <a:pt x="1403" y="214"/>
                    <a:pt x="1411" y="217"/>
                    <a:pt x="1418" y="220"/>
                  </a:cubicBezTo>
                  <a:cubicBezTo>
                    <a:pt x="1418" y="220"/>
                    <a:pt x="1418" y="220"/>
                    <a:pt x="1418" y="220"/>
                  </a:cubicBezTo>
                  <a:cubicBezTo>
                    <a:pt x="1411" y="217"/>
                    <a:pt x="1403" y="214"/>
                    <a:pt x="1395" y="211"/>
                  </a:cubicBezTo>
                  <a:moveTo>
                    <a:pt x="497" y="203"/>
                  </a:moveTo>
                  <a:cubicBezTo>
                    <a:pt x="497" y="203"/>
                    <a:pt x="497" y="203"/>
                    <a:pt x="497" y="203"/>
                  </a:cubicBezTo>
                  <a:cubicBezTo>
                    <a:pt x="498" y="203"/>
                    <a:pt x="499" y="203"/>
                    <a:pt x="500" y="203"/>
                  </a:cubicBezTo>
                  <a:cubicBezTo>
                    <a:pt x="499" y="203"/>
                    <a:pt x="498" y="203"/>
                    <a:pt x="497" y="203"/>
                  </a:cubicBezTo>
                  <a:moveTo>
                    <a:pt x="1659" y="192"/>
                  </a:moveTo>
                  <a:cubicBezTo>
                    <a:pt x="1659" y="192"/>
                    <a:pt x="1659" y="192"/>
                    <a:pt x="1659" y="192"/>
                  </a:cubicBezTo>
                  <a:cubicBezTo>
                    <a:pt x="1721" y="214"/>
                    <a:pt x="1771" y="261"/>
                    <a:pt x="1797" y="321"/>
                  </a:cubicBezTo>
                  <a:cubicBezTo>
                    <a:pt x="1821" y="310"/>
                    <a:pt x="1848" y="304"/>
                    <a:pt x="1877" y="304"/>
                  </a:cubicBezTo>
                  <a:cubicBezTo>
                    <a:pt x="1920" y="304"/>
                    <a:pt x="1961" y="318"/>
                    <a:pt x="1994" y="341"/>
                  </a:cubicBezTo>
                  <a:cubicBezTo>
                    <a:pt x="2023" y="267"/>
                    <a:pt x="2096" y="215"/>
                    <a:pt x="2180" y="215"/>
                  </a:cubicBezTo>
                  <a:cubicBezTo>
                    <a:pt x="2220" y="215"/>
                    <a:pt x="2256" y="226"/>
                    <a:pt x="2287" y="246"/>
                  </a:cubicBezTo>
                  <a:cubicBezTo>
                    <a:pt x="2287" y="246"/>
                    <a:pt x="2287" y="246"/>
                    <a:pt x="2287" y="246"/>
                  </a:cubicBezTo>
                  <a:cubicBezTo>
                    <a:pt x="2287" y="246"/>
                    <a:pt x="2287" y="246"/>
                    <a:pt x="2287" y="246"/>
                  </a:cubicBezTo>
                  <a:cubicBezTo>
                    <a:pt x="2256" y="226"/>
                    <a:pt x="2220" y="215"/>
                    <a:pt x="2180" y="215"/>
                  </a:cubicBezTo>
                  <a:cubicBezTo>
                    <a:pt x="2096" y="215"/>
                    <a:pt x="2023" y="267"/>
                    <a:pt x="1994" y="341"/>
                  </a:cubicBezTo>
                  <a:cubicBezTo>
                    <a:pt x="1961" y="318"/>
                    <a:pt x="1920" y="304"/>
                    <a:pt x="1877" y="304"/>
                  </a:cubicBezTo>
                  <a:cubicBezTo>
                    <a:pt x="1848" y="304"/>
                    <a:pt x="1821" y="310"/>
                    <a:pt x="1797" y="321"/>
                  </a:cubicBezTo>
                  <a:cubicBezTo>
                    <a:pt x="1771" y="261"/>
                    <a:pt x="1721" y="214"/>
                    <a:pt x="1659" y="192"/>
                  </a:cubicBezTo>
                  <a:moveTo>
                    <a:pt x="3348" y="122"/>
                  </a:moveTo>
                  <a:cubicBezTo>
                    <a:pt x="3289" y="122"/>
                    <a:pt x="3236" y="145"/>
                    <a:pt x="3197" y="183"/>
                  </a:cubicBezTo>
                  <a:cubicBezTo>
                    <a:pt x="3157" y="161"/>
                    <a:pt x="3111" y="148"/>
                    <a:pt x="3062" y="148"/>
                  </a:cubicBezTo>
                  <a:cubicBezTo>
                    <a:pt x="3024" y="148"/>
                    <a:pt x="2987" y="156"/>
                    <a:pt x="2954" y="170"/>
                  </a:cubicBezTo>
                  <a:cubicBezTo>
                    <a:pt x="2954" y="170"/>
                    <a:pt x="2954" y="170"/>
                    <a:pt x="2954" y="170"/>
                  </a:cubicBezTo>
                  <a:cubicBezTo>
                    <a:pt x="2987" y="156"/>
                    <a:pt x="3024" y="148"/>
                    <a:pt x="3062" y="148"/>
                  </a:cubicBezTo>
                  <a:cubicBezTo>
                    <a:pt x="3111" y="148"/>
                    <a:pt x="3157" y="161"/>
                    <a:pt x="3197" y="183"/>
                  </a:cubicBezTo>
                  <a:cubicBezTo>
                    <a:pt x="3236" y="145"/>
                    <a:pt x="3289" y="122"/>
                    <a:pt x="3348" y="122"/>
                  </a:cubicBezTo>
                  <a:cubicBezTo>
                    <a:pt x="3348" y="122"/>
                    <a:pt x="3348" y="122"/>
                    <a:pt x="3348" y="122"/>
                  </a:cubicBezTo>
                  <a:moveTo>
                    <a:pt x="3863" y="27"/>
                  </a:moveTo>
                  <a:cubicBezTo>
                    <a:pt x="3863" y="27"/>
                    <a:pt x="3863" y="27"/>
                    <a:pt x="3863" y="27"/>
                  </a:cubicBezTo>
                  <a:cubicBezTo>
                    <a:pt x="3863" y="27"/>
                    <a:pt x="3863" y="27"/>
                    <a:pt x="3863" y="27"/>
                  </a:cubicBezTo>
                  <a:cubicBezTo>
                    <a:pt x="3894" y="27"/>
                    <a:pt x="3924" y="33"/>
                    <a:pt x="3950" y="45"/>
                  </a:cubicBezTo>
                  <a:cubicBezTo>
                    <a:pt x="3967" y="43"/>
                    <a:pt x="3983" y="41"/>
                    <a:pt x="4000" y="41"/>
                  </a:cubicBezTo>
                  <a:cubicBezTo>
                    <a:pt x="4000" y="41"/>
                    <a:pt x="4000" y="41"/>
                    <a:pt x="4000" y="41"/>
                  </a:cubicBezTo>
                  <a:cubicBezTo>
                    <a:pt x="3983" y="41"/>
                    <a:pt x="3967" y="43"/>
                    <a:pt x="3950" y="45"/>
                  </a:cubicBezTo>
                  <a:cubicBezTo>
                    <a:pt x="3924" y="33"/>
                    <a:pt x="3894" y="27"/>
                    <a:pt x="3863" y="27"/>
                  </a:cubicBezTo>
                  <a:moveTo>
                    <a:pt x="0" y="0"/>
                  </a:moveTo>
                  <a:cubicBezTo>
                    <a:pt x="0" y="0"/>
                    <a:pt x="0" y="0"/>
                    <a:pt x="0" y="0"/>
                  </a:cubicBezTo>
                  <a:cubicBezTo>
                    <a:pt x="31" y="15"/>
                    <a:pt x="59" y="34"/>
                    <a:pt x="85" y="57"/>
                  </a:cubicBezTo>
                  <a:cubicBezTo>
                    <a:pt x="85" y="57"/>
                    <a:pt x="85" y="57"/>
                    <a:pt x="85" y="57"/>
                  </a:cubicBezTo>
                  <a:cubicBezTo>
                    <a:pt x="59" y="34"/>
                    <a:pt x="31" y="15"/>
                    <a:pt x="0" y="0"/>
                  </a:cubicBezTo>
                </a:path>
              </a:pathLst>
            </a:custGeom>
            <a:solidFill>
              <a:srgbClr val="EDEDED"/>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87" name="Google Shape;1520;p8">
              <a:extLst>
                <a:ext uri="{FF2B5EF4-FFF2-40B4-BE49-F238E27FC236}">
                  <a16:creationId xmlns:a16="http://schemas.microsoft.com/office/drawing/2014/main" id="{AA012A63-6959-4F1F-9E1E-39F035E2CFA2}"/>
                </a:ext>
              </a:extLst>
            </p:cNvPr>
            <p:cNvSpPr/>
            <p:nvPr/>
          </p:nvSpPr>
          <p:spPr>
            <a:xfrm>
              <a:off x="1814589" y="5230688"/>
              <a:ext cx="291764" cy="62521"/>
            </a:xfrm>
            <a:custGeom>
              <a:avLst/>
              <a:gdLst/>
              <a:ahLst/>
              <a:cxnLst/>
              <a:rect l="l" t="t" r="r" b="b"/>
              <a:pathLst>
                <a:path w="228" h="49" extrusionOk="0">
                  <a:moveTo>
                    <a:pt x="0" y="41"/>
                  </a:moveTo>
                  <a:cubicBezTo>
                    <a:pt x="0" y="41"/>
                    <a:pt x="0" y="41"/>
                    <a:pt x="0" y="41"/>
                  </a:cubicBezTo>
                  <a:cubicBezTo>
                    <a:pt x="7" y="43"/>
                    <a:pt x="13" y="46"/>
                    <a:pt x="19" y="49"/>
                  </a:cubicBezTo>
                  <a:cubicBezTo>
                    <a:pt x="19" y="49"/>
                    <a:pt x="19" y="49"/>
                    <a:pt x="19" y="49"/>
                  </a:cubicBezTo>
                  <a:cubicBezTo>
                    <a:pt x="13" y="46"/>
                    <a:pt x="7" y="43"/>
                    <a:pt x="0" y="41"/>
                  </a:cubicBezTo>
                  <a:moveTo>
                    <a:pt x="162" y="0"/>
                  </a:moveTo>
                  <a:cubicBezTo>
                    <a:pt x="122" y="0"/>
                    <a:pt x="84" y="10"/>
                    <a:pt x="50" y="28"/>
                  </a:cubicBezTo>
                  <a:cubicBezTo>
                    <a:pt x="84" y="10"/>
                    <a:pt x="122" y="0"/>
                    <a:pt x="162" y="0"/>
                  </a:cubicBezTo>
                  <a:cubicBezTo>
                    <a:pt x="185" y="0"/>
                    <a:pt x="207" y="3"/>
                    <a:pt x="228" y="9"/>
                  </a:cubicBezTo>
                  <a:cubicBezTo>
                    <a:pt x="228" y="9"/>
                    <a:pt x="228" y="9"/>
                    <a:pt x="228" y="9"/>
                  </a:cubicBezTo>
                  <a:cubicBezTo>
                    <a:pt x="207" y="3"/>
                    <a:pt x="185" y="0"/>
                    <a:pt x="162" y="0"/>
                  </a:cubicBezTo>
                </a:path>
              </a:pathLst>
            </a:custGeom>
            <a:solidFill>
              <a:srgbClr val="FFC9BB"/>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88" name="Google Shape;1521;p8">
              <a:extLst>
                <a:ext uri="{FF2B5EF4-FFF2-40B4-BE49-F238E27FC236}">
                  <a16:creationId xmlns:a16="http://schemas.microsoft.com/office/drawing/2014/main" id="{5C24CBE8-3152-4998-A1A0-5F8D6D6ECB57}"/>
                </a:ext>
              </a:extLst>
            </p:cNvPr>
            <p:cNvSpPr/>
            <p:nvPr/>
          </p:nvSpPr>
          <p:spPr>
            <a:xfrm>
              <a:off x="626698" y="5261948"/>
              <a:ext cx="8932" cy="0"/>
            </a:xfrm>
            <a:custGeom>
              <a:avLst/>
              <a:gdLst/>
              <a:ahLst/>
              <a:cxnLst/>
              <a:rect l="l" t="t" r="r" b="b"/>
              <a:pathLst>
                <a:path w="7" h="119999" extrusionOk="0">
                  <a:moveTo>
                    <a:pt x="0" y="0"/>
                  </a:moveTo>
                  <a:cubicBezTo>
                    <a:pt x="0" y="0"/>
                    <a:pt x="0" y="0"/>
                    <a:pt x="0" y="0"/>
                  </a:cubicBezTo>
                  <a:cubicBezTo>
                    <a:pt x="2" y="0"/>
                    <a:pt x="5" y="0"/>
                    <a:pt x="7" y="0"/>
                  </a:cubicBezTo>
                  <a:cubicBezTo>
                    <a:pt x="7" y="0"/>
                    <a:pt x="7" y="0"/>
                    <a:pt x="7" y="0"/>
                  </a:cubicBezTo>
                  <a:cubicBezTo>
                    <a:pt x="5" y="0"/>
                    <a:pt x="2" y="0"/>
                    <a:pt x="0" y="0"/>
                  </a:cubicBezTo>
                </a:path>
              </a:pathLst>
            </a:custGeom>
            <a:solidFill>
              <a:srgbClr val="D1D1D1"/>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89" name="Google Shape;1522;p8">
              <a:extLst>
                <a:ext uri="{FF2B5EF4-FFF2-40B4-BE49-F238E27FC236}">
                  <a16:creationId xmlns:a16="http://schemas.microsoft.com/office/drawing/2014/main" id="{5497F060-7809-409B-87F0-FAE3125C284F}"/>
                </a:ext>
              </a:extLst>
            </p:cNvPr>
            <p:cNvSpPr/>
            <p:nvPr/>
          </p:nvSpPr>
          <p:spPr>
            <a:xfrm>
              <a:off x="108670" y="5074386"/>
              <a:ext cx="114621" cy="136949"/>
            </a:xfrm>
            <a:custGeom>
              <a:avLst/>
              <a:gdLst/>
              <a:ahLst/>
              <a:cxnLst/>
              <a:rect l="l" t="t" r="r" b="b"/>
              <a:pathLst>
                <a:path w="90" h="107" extrusionOk="0">
                  <a:moveTo>
                    <a:pt x="0" y="0"/>
                  </a:moveTo>
                  <a:cubicBezTo>
                    <a:pt x="0" y="0"/>
                    <a:pt x="0" y="0"/>
                    <a:pt x="0" y="0"/>
                  </a:cubicBezTo>
                  <a:cubicBezTo>
                    <a:pt x="34" y="30"/>
                    <a:pt x="62" y="67"/>
                    <a:pt x="83" y="107"/>
                  </a:cubicBezTo>
                  <a:cubicBezTo>
                    <a:pt x="85" y="107"/>
                    <a:pt x="88" y="106"/>
                    <a:pt x="90" y="106"/>
                  </a:cubicBezTo>
                  <a:cubicBezTo>
                    <a:pt x="90" y="106"/>
                    <a:pt x="90" y="106"/>
                    <a:pt x="90" y="106"/>
                  </a:cubicBezTo>
                  <a:cubicBezTo>
                    <a:pt x="88" y="106"/>
                    <a:pt x="85" y="107"/>
                    <a:pt x="83" y="107"/>
                  </a:cubicBezTo>
                  <a:cubicBezTo>
                    <a:pt x="62" y="67"/>
                    <a:pt x="34" y="30"/>
                    <a:pt x="0" y="0"/>
                  </a:cubicBezTo>
                </a:path>
              </a:pathLst>
            </a:custGeom>
            <a:solidFill>
              <a:srgbClr val="F9C9D1"/>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90" name="Google Shape;1523;p8">
              <a:extLst>
                <a:ext uri="{FF2B5EF4-FFF2-40B4-BE49-F238E27FC236}">
                  <a16:creationId xmlns:a16="http://schemas.microsoft.com/office/drawing/2014/main" id="{75F5F984-29A0-41C5-96C4-708A6C6D0CB4}"/>
                </a:ext>
              </a:extLst>
            </p:cNvPr>
            <p:cNvSpPr/>
            <p:nvPr/>
          </p:nvSpPr>
          <p:spPr>
            <a:xfrm>
              <a:off x="3" y="5001445"/>
              <a:ext cx="5119243" cy="474859"/>
            </a:xfrm>
            <a:custGeom>
              <a:avLst/>
              <a:gdLst/>
              <a:ahLst/>
              <a:cxnLst/>
              <a:rect l="l" t="t" r="r" b="b"/>
              <a:pathLst>
                <a:path w="4000" h="370" extrusionOk="0">
                  <a:moveTo>
                    <a:pt x="0" y="0"/>
                  </a:moveTo>
                  <a:cubicBezTo>
                    <a:pt x="0" y="28"/>
                    <a:pt x="0" y="28"/>
                    <a:pt x="0" y="28"/>
                  </a:cubicBezTo>
                  <a:cubicBezTo>
                    <a:pt x="72" y="64"/>
                    <a:pt x="131" y="121"/>
                    <a:pt x="168" y="193"/>
                  </a:cubicBezTo>
                  <a:cubicBezTo>
                    <a:pt x="186" y="188"/>
                    <a:pt x="204" y="186"/>
                    <a:pt x="223" y="186"/>
                  </a:cubicBezTo>
                  <a:cubicBezTo>
                    <a:pt x="287" y="186"/>
                    <a:pt x="345" y="214"/>
                    <a:pt x="385" y="258"/>
                  </a:cubicBezTo>
                  <a:cubicBezTo>
                    <a:pt x="416" y="241"/>
                    <a:pt x="452" y="232"/>
                    <a:pt x="490" y="232"/>
                  </a:cubicBezTo>
                  <a:cubicBezTo>
                    <a:pt x="506" y="232"/>
                    <a:pt x="521" y="233"/>
                    <a:pt x="536" y="236"/>
                  </a:cubicBezTo>
                  <a:cubicBezTo>
                    <a:pt x="583" y="152"/>
                    <a:pt x="673" y="95"/>
                    <a:pt x="776" y="95"/>
                  </a:cubicBezTo>
                  <a:cubicBezTo>
                    <a:pt x="917" y="95"/>
                    <a:pt x="1033" y="201"/>
                    <a:pt x="1048" y="337"/>
                  </a:cubicBezTo>
                  <a:cubicBezTo>
                    <a:pt x="1058" y="334"/>
                    <a:pt x="1068" y="331"/>
                    <a:pt x="1078" y="330"/>
                  </a:cubicBezTo>
                  <a:cubicBezTo>
                    <a:pt x="1133" y="266"/>
                    <a:pt x="1214" y="226"/>
                    <a:pt x="1305" y="226"/>
                  </a:cubicBezTo>
                  <a:cubicBezTo>
                    <a:pt x="1352" y="226"/>
                    <a:pt x="1397" y="237"/>
                    <a:pt x="1437" y="256"/>
                  </a:cubicBezTo>
                  <a:cubicBezTo>
                    <a:pt x="1476" y="226"/>
                    <a:pt x="1526" y="207"/>
                    <a:pt x="1580" y="207"/>
                  </a:cubicBezTo>
                  <a:cubicBezTo>
                    <a:pt x="1677" y="207"/>
                    <a:pt x="1760" y="266"/>
                    <a:pt x="1797" y="349"/>
                  </a:cubicBezTo>
                  <a:cubicBezTo>
                    <a:pt x="1821" y="338"/>
                    <a:pt x="1848" y="333"/>
                    <a:pt x="1877" y="333"/>
                  </a:cubicBezTo>
                  <a:cubicBezTo>
                    <a:pt x="1920" y="333"/>
                    <a:pt x="1961" y="346"/>
                    <a:pt x="1994" y="370"/>
                  </a:cubicBezTo>
                  <a:cubicBezTo>
                    <a:pt x="2023" y="296"/>
                    <a:pt x="2096" y="243"/>
                    <a:pt x="2180" y="243"/>
                  </a:cubicBezTo>
                  <a:cubicBezTo>
                    <a:pt x="2220" y="243"/>
                    <a:pt x="2256" y="255"/>
                    <a:pt x="2287" y="274"/>
                  </a:cubicBezTo>
                  <a:cubicBezTo>
                    <a:pt x="2341" y="196"/>
                    <a:pt x="2431" y="145"/>
                    <a:pt x="2534" y="145"/>
                  </a:cubicBezTo>
                  <a:cubicBezTo>
                    <a:pt x="2661" y="145"/>
                    <a:pt x="2770" y="224"/>
                    <a:pt x="2813" y="337"/>
                  </a:cubicBezTo>
                  <a:cubicBezTo>
                    <a:pt x="2856" y="242"/>
                    <a:pt x="2951" y="176"/>
                    <a:pt x="3062" y="176"/>
                  </a:cubicBezTo>
                  <a:cubicBezTo>
                    <a:pt x="3111" y="176"/>
                    <a:pt x="3157" y="189"/>
                    <a:pt x="3197" y="211"/>
                  </a:cubicBezTo>
                  <a:cubicBezTo>
                    <a:pt x="3236" y="174"/>
                    <a:pt x="3289" y="150"/>
                    <a:pt x="3348" y="150"/>
                  </a:cubicBezTo>
                  <a:cubicBezTo>
                    <a:pt x="3415" y="150"/>
                    <a:pt x="3475" y="180"/>
                    <a:pt x="3515" y="228"/>
                  </a:cubicBezTo>
                  <a:cubicBezTo>
                    <a:pt x="3538" y="216"/>
                    <a:pt x="3564" y="210"/>
                    <a:pt x="3591" y="210"/>
                  </a:cubicBezTo>
                  <a:cubicBezTo>
                    <a:pt x="3612" y="210"/>
                    <a:pt x="3632" y="213"/>
                    <a:pt x="3650" y="220"/>
                  </a:cubicBezTo>
                  <a:cubicBezTo>
                    <a:pt x="3674" y="125"/>
                    <a:pt x="3760" y="55"/>
                    <a:pt x="3863" y="55"/>
                  </a:cubicBezTo>
                  <a:cubicBezTo>
                    <a:pt x="3894" y="55"/>
                    <a:pt x="3924" y="62"/>
                    <a:pt x="3950" y="74"/>
                  </a:cubicBezTo>
                  <a:cubicBezTo>
                    <a:pt x="3967" y="71"/>
                    <a:pt x="3983" y="70"/>
                    <a:pt x="4000" y="69"/>
                  </a:cubicBezTo>
                  <a:cubicBezTo>
                    <a:pt x="4000" y="41"/>
                    <a:pt x="4000" y="41"/>
                    <a:pt x="4000" y="41"/>
                  </a:cubicBezTo>
                  <a:cubicBezTo>
                    <a:pt x="4000" y="41"/>
                    <a:pt x="4000" y="41"/>
                    <a:pt x="4000" y="41"/>
                  </a:cubicBezTo>
                  <a:cubicBezTo>
                    <a:pt x="3983" y="41"/>
                    <a:pt x="3967" y="43"/>
                    <a:pt x="3950" y="45"/>
                  </a:cubicBezTo>
                  <a:cubicBezTo>
                    <a:pt x="3924" y="33"/>
                    <a:pt x="3894" y="27"/>
                    <a:pt x="3863" y="27"/>
                  </a:cubicBezTo>
                  <a:cubicBezTo>
                    <a:pt x="3863" y="27"/>
                    <a:pt x="3863" y="27"/>
                    <a:pt x="3863" y="27"/>
                  </a:cubicBezTo>
                  <a:cubicBezTo>
                    <a:pt x="3762" y="27"/>
                    <a:pt x="3677" y="95"/>
                    <a:pt x="3651" y="188"/>
                  </a:cubicBezTo>
                  <a:cubicBezTo>
                    <a:pt x="3651" y="189"/>
                    <a:pt x="3651" y="191"/>
                    <a:pt x="3650" y="192"/>
                  </a:cubicBezTo>
                  <a:cubicBezTo>
                    <a:pt x="3632" y="185"/>
                    <a:pt x="3612" y="181"/>
                    <a:pt x="3591" y="181"/>
                  </a:cubicBezTo>
                  <a:cubicBezTo>
                    <a:pt x="3564" y="181"/>
                    <a:pt x="3538" y="188"/>
                    <a:pt x="3515" y="199"/>
                  </a:cubicBezTo>
                  <a:cubicBezTo>
                    <a:pt x="3515" y="199"/>
                    <a:pt x="3515" y="199"/>
                    <a:pt x="3515" y="199"/>
                  </a:cubicBezTo>
                  <a:cubicBezTo>
                    <a:pt x="3475" y="152"/>
                    <a:pt x="3415" y="122"/>
                    <a:pt x="3348" y="122"/>
                  </a:cubicBezTo>
                  <a:cubicBezTo>
                    <a:pt x="3289" y="122"/>
                    <a:pt x="3236" y="145"/>
                    <a:pt x="3197" y="183"/>
                  </a:cubicBezTo>
                  <a:cubicBezTo>
                    <a:pt x="3157" y="161"/>
                    <a:pt x="3111" y="148"/>
                    <a:pt x="3062" y="148"/>
                  </a:cubicBezTo>
                  <a:cubicBezTo>
                    <a:pt x="3024" y="148"/>
                    <a:pt x="2987" y="156"/>
                    <a:pt x="2954" y="170"/>
                  </a:cubicBezTo>
                  <a:cubicBezTo>
                    <a:pt x="2946" y="173"/>
                    <a:pt x="2938" y="177"/>
                    <a:pt x="2930" y="182"/>
                  </a:cubicBezTo>
                  <a:cubicBezTo>
                    <a:pt x="2878" y="210"/>
                    <a:pt x="2837" y="255"/>
                    <a:pt x="2813" y="308"/>
                  </a:cubicBezTo>
                  <a:cubicBezTo>
                    <a:pt x="2770" y="196"/>
                    <a:pt x="2661" y="116"/>
                    <a:pt x="2534" y="116"/>
                  </a:cubicBezTo>
                  <a:cubicBezTo>
                    <a:pt x="2533" y="116"/>
                    <a:pt x="2533" y="116"/>
                    <a:pt x="2533" y="116"/>
                  </a:cubicBezTo>
                  <a:cubicBezTo>
                    <a:pt x="2431" y="116"/>
                    <a:pt x="2341" y="168"/>
                    <a:pt x="2287" y="246"/>
                  </a:cubicBezTo>
                  <a:cubicBezTo>
                    <a:pt x="2287" y="246"/>
                    <a:pt x="2287" y="246"/>
                    <a:pt x="2287" y="246"/>
                  </a:cubicBezTo>
                  <a:cubicBezTo>
                    <a:pt x="2256" y="226"/>
                    <a:pt x="2220" y="215"/>
                    <a:pt x="2180" y="215"/>
                  </a:cubicBezTo>
                  <a:cubicBezTo>
                    <a:pt x="2096" y="215"/>
                    <a:pt x="2023" y="267"/>
                    <a:pt x="1994" y="341"/>
                  </a:cubicBezTo>
                  <a:cubicBezTo>
                    <a:pt x="1961" y="318"/>
                    <a:pt x="1920" y="304"/>
                    <a:pt x="1877" y="304"/>
                  </a:cubicBezTo>
                  <a:cubicBezTo>
                    <a:pt x="1848" y="304"/>
                    <a:pt x="1821" y="310"/>
                    <a:pt x="1797" y="321"/>
                  </a:cubicBezTo>
                  <a:cubicBezTo>
                    <a:pt x="1771" y="261"/>
                    <a:pt x="1721" y="214"/>
                    <a:pt x="1659" y="192"/>
                  </a:cubicBezTo>
                  <a:cubicBezTo>
                    <a:pt x="1655" y="191"/>
                    <a:pt x="1650" y="189"/>
                    <a:pt x="1646" y="188"/>
                  </a:cubicBezTo>
                  <a:cubicBezTo>
                    <a:pt x="1625" y="182"/>
                    <a:pt x="1603" y="179"/>
                    <a:pt x="1580" y="179"/>
                  </a:cubicBezTo>
                  <a:cubicBezTo>
                    <a:pt x="1540" y="179"/>
                    <a:pt x="1502" y="189"/>
                    <a:pt x="1468" y="207"/>
                  </a:cubicBezTo>
                  <a:cubicBezTo>
                    <a:pt x="1457" y="213"/>
                    <a:pt x="1446" y="220"/>
                    <a:pt x="1437" y="228"/>
                  </a:cubicBezTo>
                  <a:cubicBezTo>
                    <a:pt x="1437" y="228"/>
                    <a:pt x="1437" y="228"/>
                    <a:pt x="1437" y="228"/>
                  </a:cubicBezTo>
                  <a:cubicBezTo>
                    <a:pt x="1437" y="228"/>
                    <a:pt x="1437" y="228"/>
                    <a:pt x="1437" y="228"/>
                  </a:cubicBezTo>
                  <a:cubicBezTo>
                    <a:pt x="1431" y="225"/>
                    <a:pt x="1425" y="222"/>
                    <a:pt x="1418" y="220"/>
                  </a:cubicBezTo>
                  <a:cubicBezTo>
                    <a:pt x="1411" y="217"/>
                    <a:pt x="1403" y="214"/>
                    <a:pt x="1395" y="211"/>
                  </a:cubicBezTo>
                  <a:cubicBezTo>
                    <a:pt x="1388" y="209"/>
                    <a:pt x="1381" y="207"/>
                    <a:pt x="1373" y="205"/>
                  </a:cubicBezTo>
                  <a:cubicBezTo>
                    <a:pt x="1351" y="200"/>
                    <a:pt x="1328" y="197"/>
                    <a:pt x="1305" y="197"/>
                  </a:cubicBezTo>
                  <a:cubicBezTo>
                    <a:pt x="1302" y="197"/>
                    <a:pt x="1300" y="197"/>
                    <a:pt x="1297" y="197"/>
                  </a:cubicBezTo>
                  <a:cubicBezTo>
                    <a:pt x="1210" y="200"/>
                    <a:pt x="1132" y="239"/>
                    <a:pt x="1078" y="301"/>
                  </a:cubicBezTo>
                  <a:cubicBezTo>
                    <a:pt x="1078" y="301"/>
                    <a:pt x="1078" y="301"/>
                    <a:pt x="1078" y="301"/>
                  </a:cubicBezTo>
                  <a:cubicBezTo>
                    <a:pt x="1068" y="303"/>
                    <a:pt x="1058" y="306"/>
                    <a:pt x="1048" y="309"/>
                  </a:cubicBezTo>
                  <a:cubicBezTo>
                    <a:pt x="1045" y="280"/>
                    <a:pt x="1037" y="253"/>
                    <a:pt x="1026" y="228"/>
                  </a:cubicBezTo>
                  <a:cubicBezTo>
                    <a:pt x="983" y="133"/>
                    <a:pt x="887" y="67"/>
                    <a:pt x="776" y="67"/>
                  </a:cubicBezTo>
                  <a:cubicBezTo>
                    <a:pt x="766" y="67"/>
                    <a:pt x="756" y="67"/>
                    <a:pt x="746" y="68"/>
                  </a:cubicBezTo>
                  <a:cubicBezTo>
                    <a:pt x="656" y="78"/>
                    <a:pt x="578" y="132"/>
                    <a:pt x="536" y="208"/>
                  </a:cubicBezTo>
                  <a:cubicBezTo>
                    <a:pt x="524" y="206"/>
                    <a:pt x="512" y="204"/>
                    <a:pt x="500" y="203"/>
                  </a:cubicBezTo>
                  <a:cubicBezTo>
                    <a:pt x="499" y="203"/>
                    <a:pt x="498" y="203"/>
                    <a:pt x="497" y="203"/>
                  </a:cubicBezTo>
                  <a:cubicBezTo>
                    <a:pt x="495" y="203"/>
                    <a:pt x="492" y="203"/>
                    <a:pt x="490" y="203"/>
                  </a:cubicBezTo>
                  <a:cubicBezTo>
                    <a:pt x="457" y="203"/>
                    <a:pt x="425" y="211"/>
                    <a:pt x="397" y="224"/>
                  </a:cubicBezTo>
                  <a:cubicBezTo>
                    <a:pt x="393" y="226"/>
                    <a:pt x="389" y="228"/>
                    <a:pt x="385" y="230"/>
                  </a:cubicBezTo>
                  <a:cubicBezTo>
                    <a:pt x="346" y="187"/>
                    <a:pt x="290" y="159"/>
                    <a:pt x="228" y="157"/>
                  </a:cubicBezTo>
                  <a:cubicBezTo>
                    <a:pt x="226" y="157"/>
                    <a:pt x="224" y="157"/>
                    <a:pt x="223" y="157"/>
                  </a:cubicBezTo>
                  <a:cubicBezTo>
                    <a:pt x="206" y="157"/>
                    <a:pt x="190" y="159"/>
                    <a:pt x="175" y="163"/>
                  </a:cubicBezTo>
                  <a:cubicBezTo>
                    <a:pt x="173" y="163"/>
                    <a:pt x="170" y="164"/>
                    <a:pt x="168" y="164"/>
                  </a:cubicBezTo>
                  <a:cubicBezTo>
                    <a:pt x="147" y="124"/>
                    <a:pt x="119" y="87"/>
                    <a:pt x="85" y="57"/>
                  </a:cubicBezTo>
                  <a:cubicBezTo>
                    <a:pt x="59" y="34"/>
                    <a:pt x="31" y="15"/>
                    <a:pt x="0" y="0"/>
                  </a:cubicBezTo>
                </a:path>
              </a:pathLst>
            </a:custGeom>
            <a:solidFill>
              <a:srgbClr val="FFFFFF"/>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91" name="Google Shape;1444;p8">
              <a:extLst>
                <a:ext uri="{FF2B5EF4-FFF2-40B4-BE49-F238E27FC236}">
                  <a16:creationId xmlns:a16="http://schemas.microsoft.com/office/drawing/2014/main" id="{3FA52123-592A-49F1-8FAC-7F7AEDC1C36A}"/>
                </a:ext>
              </a:extLst>
            </p:cNvPr>
            <p:cNvSpPr/>
            <p:nvPr/>
          </p:nvSpPr>
          <p:spPr>
            <a:xfrm>
              <a:off x="2296010" y="2433417"/>
              <a:ext cx="540740" cy="993492"/>
            </a:xfrm>
            <a:custGeom>
              <a:avLst/>
              <a:gdLst/>
              <a:ahLst/>
              <a:cxnLst/>
              <a:rect l="l" t="t" r="r" b="b"/>
              <a:pathLst>
                <a:path w="394" h="722" extrusionOk="0">
                  <a:moveTo>
                    <a:pt x="258" y="162"/>
                  </a:moveTo>
                  <a:cubicBezTo>
                    <a:pt x="250" y="165"/>
                    <a:pt x="241" y="167"/>
                    <a:pt x="232" y="169"/>
                  </a:cubicBezTo>
                  <a:cubicBezTo>
                    <a:pt x="231" y="173"/>
                    <a:pt x="229" y="176"/>
                    <a:pt x="227" y="180"/>
                  </a:cubicBezTo>
                  <a:cubicBezTo>
                    <a:pt x="226" y="180"/>
                    <a:pt x="226" y="180"/>
                    <a:pt x="226" y="181"/>
                  </a:cubicBezTo>
                  <a:cubicBezTo>
                    <a:pt x="229" y="180"/>
                    <a:pt x="231" y="179"/>
                    <a:pt x="234" y="178"/>
                  </a:cubicBezTo>
                  <a:cubicBezTo>
                    <a:pt x="239" y="177"/>
                    <a:pt x="243" y="176"/>
                    <a:pt x="244" y="174"/>
                  </a:cubicBezTo>
                  <a:cubicBezTo>
                    <a:pt x="245" y="174"/>
                    <a:pt x="245" y="173"/>
                    <a:pt x="246" y="172"/>
                  </a:cubicBezTo>
                  <a:cubicBezTo>
                    <a:pt x="247" y="171"/>
                    <a:pt x="248" y="170"/>
                    <a:pt x="249" y="169"/>
                  </a:cubicBezTo>
                  <a:cubicBezTo>
                    <a:pt x="252" y="167"/>
                    <a:pt x="255" y="164"/>
                    <a:pt x="258" y="162"/>
                  </a:cubicBezTo>
                  <a:moveTo>
                    <a:pt x="144" y="6"/>
                  </a:moveTo>
                  <a:cubicBezTo>
                    <a:pt x="144" y="6"/>
                    <a:pt x="143" y="6"/>
                    <a:pt x="143" y="6"/>
                  </a:cubicBezTo>
                  <a:cubicBezTo>
                    <a:pt x="127" y="7"/>
                    <a:pt x="115" y="14"/>
                    <a:pt x="109" y="29"/>
                  </a:cubicBezTo>
                  <a:cubicBezTo>
                    <a:pt x="104" y="39"/>
                    <a:pt x="104" y="55"/>
                    <a:pt x="97" y="63"/>
                  </a:cubicBezTo>
                  <a:cubicBezTo>
                    <a:pt x="84" y="79"/>
                    <a:pt x="55" y="84"/>
                    <a:pt x="35" y="84"/>
                  </a:cubicBezTo>
                  <a:cubicBezTo>
                    <a:pt x="22" y="84"/>
                    <a:pt x="10" y="88"/>
                    <a:pt x="5" y="101"/>
                  </a:cubicBezTo>
                  <a:cubicBezTo>
                    <a:pt x="0" y="112"/>
                    <a:pt x="2" y="125"/>
                    <a:pt x="9" y="135"/>
                  </a:cubicBezTo>
                  <a:cubicBezTo>
                    <a:pt x="17" y="147"/>
                    <a:pt x="31" y="152"/>
                    <a:pt x="45" y="152"/>
                  </a:cubicBezTo>
                  <a:cubicBezTo>
                    <a:pt x="46" y="152"/>
                    <a:pt x="48" y="152"/>
                    <a:pt x="50" y="152"/>
                  </a:cubicBezTo>
                  <a:cubicBezTo>
                    <a:pt x="80" y="149"/>
                    <a:pt x="104" y="133"/>
                    <a:pt x="121" y="117"/>
                  </a:cubicBezTo>
                  <a:cubicBezTo>
                    <a:pt x="113" y="128"/>
                    <a:pt x="104" y="143"/>
                    <a:pt x="104" y="161"/>
                  </a:cubicBezTo>
                  <a:cubicBezTo>
                    <a:pt x="106" y="195"/>
                    <a:pt x="111" y="200"/>
                    <a:pt x="118" y="228"/>
                  </a:cubicBezTo>
                  <a:cubicBezTo>
                    <a:pt x="126" y="255"/>
                    <a:pt x="103" y="302"/>
                    <a:pt x="103" y="302"/>
                  </a:cubicBezTo>
                  <a:cubicBezTo>
                    <a:pt x="103" y="302"/>
                    <a:pt x="82" y="335"/>
                    <a:pt x="82" y="389"/>
                  </a:cubicBezTo>
                  <a:cubicBezTo>
                    <a:pt x="82" y="442"/>
                    <a:pt x="76" y="470"/>
                    <a:pt x="63" y="508"/>
                  </a:cubicBezTo>
                  <a:cubicBezTo>
                    <a:pt x="63" y="508"/>
                    <a:pt x="65" y="508"/>
                    <a:pt x="67" y="509"/>
                  </a:cubicBezTo>
                  <a:cubicBezTo>
                    <a:pt x="67" y="509"/>
                    <a:pt x="65" y="518"/>
                    <a:pt x="62" y="532"/>
                  </a:cubicBezTo>
                  <a:cubicBezTo>
                    <a:pt x="60" y="546"/>
                    <a:pt x="58" y="565"/>
                    <a:pt x="57" y="585"/>
                  </a:cubicBezTo>
                  <a:cubicBezTo>
                    <a:pt x="57" y="585"/>
                    <a:pt x="58" y="610"/>
                    <a:pt x="49" y="641"/>
                  </a:cubicBezTo>
                  <a:cubicBezTo>
                    <a:pt x="49" y="641"/>
                    <a:pt x="49" y="641"/>
                    <a:pt x="48" y="641"/>
                  </a:cubicBezTo>
                  <a:cubicBezTo>
                    <a:pt x="46" y="641"/>
                    <a:pt x="35" y="643"/>
                    <a:pt x="33" y="667"/>
                  </a:cubicBezTo>
                  <a:cubicBezTo>
                    <a:pt x="30" y="695"/>
                    <a:pt x="28" y="712"/>
                    <a:pt x="28" y="712"/>
                  </a:cubicBezTo>
                  <a:cubicBezTo>
                    <a:pt x="34" y="713"/>
                    <a:pt x="34" y="713"/>
                    <a:pt x="34" y="713"/>
                  </a:cubicBezTo>
                  <a:cubicBezTo>
                    <a:pt x="34" y="713"/>
                    <a:pt x="41" y="677"/>
                    <a:pt x="43" y="677"/>
                  </a:cubicBezTo>
                  <a:cubicBezTo>
                    <a:pt x="43" y="677"/>
                    <a:pt x="43" y="677"/>
                    <a:pt x="43" y="677"/>
                  </a:cubicBezTo>
                  <a:cubicBezTo>
                    <a:pt x="45" y="678"/>
                    <a:pt x="55" y="696"/>
                    <a:pt x="55" y="705"/>
                  </a:cubicBezTo>
                  <a:cubicBezTo>
                    <a:pt x="55" y="715"/>
                    <a:pt x="62" y="716"/>
                    <a:pt x="62" y="716"/>
                  </a:cubicBezTo>
                  <a:cubicBezTo>
                    <a:pt x="62" y="716"/>
                    <a:pt x="81" y="722"/>
                    <a:pt x="95" y="722"/>
                  </a:cubicBezTo>
                  <a:cubicBezTo>
                    <a:pt x="95" y="722"/>
                    <a:pt x="95" y="722"/>
                    <a:pt x="95" y="722"/>
                  </a:cubicBezTo>
                  <a:cubicBezTo>
                    <a:pt x="97" y="722"/>
                    <a:pt x="99" y="721"/>
                    <a:pt x="98" y="719"/>
                  </a:cubicBezTo>
                  <a:cubicBezTo>
                    <a:pt x="97" y="714"/>
                    <a:pt x="92" y="706"/>
                    <a:pt x="77" y="692"/>
                  </a:cubicBezTo>
                  <a:cubicBezTo>
                    <a:pt x="73" y="679"/>
                    <a:pt x="71" y="662"/>
                    <a:pt x="74" y="650"/>
                  </a:cubicBezTo>
                  <a:cubicBezTo>
                    <a:pt x="77" y="636"/>
                    <a:pt x="102" y="531"/>
                    <a:pt x="107" y="515"/>
                  </a:cubicBezTo>
                  <a:cubicBezTo>
                    <a:pt x="117" y="516"/>
                    <a:pt x="129" y="516"/>
                    <a:pt x="140" y="516"/>
                  </a:cubicBezTo>
                  <a:cubicBezTo>
                    <a:pt x="140" y="516"/>
                    <a:pt x="140" y="519"/>
                    <a:pt x="140" y="524"/>
                  </a:cubicBezTo>
                  <a:cubicBezTo>
                    <a:pt x="140" y="537"/>
                    <a:pt x="141" y="564"/>
                    <a:pt x="145" y="591"/>
                  </a:cubicBezTo>
                  <a:cubicBezTo>
                    <a:pt x="145" y="591"/>
                    <a:pt x="149" y="617"/>
                    <a:pt x="145" y="649"/>
                  </a:cubicBezTo>
                  <a:cubicBezTo>
                    <a:pt x="145" y="649"/>
                    <a:pt x="132" y="649"/>
                    <a:pt x="134" y="677"/>
                  </a:cubicBezTo>
                  <a:cubicBezTo>
                    <a:pt x="135" y="705"/>
                    <a:pt x="136" y="722"/>
                    <a:pt x="136" y="722"/>
                  </a:cubicBezTo>
                  <a:cubicBezTo>
                    <a:pt x="142" y="722"/>
                    <a:pt x="142" y="722"/>
                    <a:pt x="142" y="722"/>
                  </a:cubicBezTo>
                  <a:cubicBezTo>
                    <a:pt x="142" y="722"/>
                    <a:pt x="143" y="685"/>
                    <a:pt x="145" y="685"/>
                  </a:cubicBezTo>
                  <a:cubicBezTo>
                    <a:pt x="145" y="685"/>
                    <a:pt x="145" y="685"/>
                    <a:pt x="145" y="685"/>
                  </a:cubicBezTo>
                  <a:cubicBezTo>
                    <a:pt x="148" y="685"/>
                    <a:pt x="160" y="701"/>
                    <a:pt x="162" y="711"/>
                  </a:cubicBezTo>
                  <a:cubicBezTo>
                    <a:pt x="163" y="721"/>
                    <a:pt x="171" y="721"/>
                    <a:pt x="171" y="721"/>
                  </a:cubicBezTo>
                  <a:cubicBezTo>
                    <a:pt x="171" y="721"/>
                    <a:pt x="181" y="722"/>
                    <a:pt x="192" y="722"/>
                  </a:cubicBezTo>
                  <a:cubicBezTo>
                    <a:pt x="196" y="722"/>
                    <a:pt x="200" y="722"/>
                    <a:pt x="204" y="721"/>
                  </a:cubicBezTo>
                  <a:cubicBezTo>
                    <a:pt x="206" y="721"/>
                    <a:pt x="207" y="719"/>
                    <a:pt x="206" y="717"/>
                  </a:cubicBezTo>
                  <a:cubicBezTo>
                    <a:pt x="204" y="713"/>
                    <a:pt x="198" y="706"/>
                    <a:pt x="181" y="694"/>
                  </a:cubicBezTo>
                  <a:cubicBezTo>
                    <a:pt x="175" y="682"/>
                    <a:pt x="171" y="665"/>
                    <a:pt x="171" y="653"/>
                  </a:cubicBezTo>
                  <a:cubicBezTo>
                    <a:pt x="172" y="639"/>
                    <a:pt x="182" y="519"/>
                    <a:pt x="183" y="513"/>
                  </a:cubicBezTo>
                  <a:cubicBezTo>
                    <a:pt x="183" y="513"/>
                    <a:pt x="204" y="412"/>
                    <a:pt x="208" y="390"/>
                  </a:cubicBezTo>
                  <a:cubicBezTo>
                    <a:pt x="214" y="354"/>
                    <a:pt x="210" y="322"/>
                    <a:pt x="208" y="302"/>
                  </a:cubicBezTo>
                  <a:cubicBezTo>
                    <a:pt x="207" y="299"/>
                    <a:pt x="205" y="293"/>
                    <a:pt x="204" y="286"/>
                  </a:cubicBezTo>
                  <a:cubicBezTo>
                    <a:pt x="174" y="286"/>
                    <a:pt x="132" y="286"/>
                    <a:pt x="127" y="286"/>
                  </a:cubicBezTo>
                  <a:cubicBezTo>
                    <a:pt x="127" y="286"/>
                    <a:pt x="150" y="239"/>
                    <a:pt x="142" y="212"/>
                  </a:cubicBezTo>
                  <a:cubicBezTo>
                    <a:pt x="135" y="184"/>
                    <a:pt x="130" y="179"/>
                    <a:pt x="129" y="145"/>
                  </a:cubicBezTo>
                  <a:cubicBezTo>
                    <a:pt x="128" y="121"/>
                    <a:pt x="145" y="101"/>
                    <a:pt x="154" y="92"/>
                  </a:cubicBezTo>
                  <a:cubicBezTo>
                    <a:pt x="154" y="92"/>
                    <a:pt x="154" y="92"/>
                    <a:pt x="154" y="92"/>
                  </a:cubicBezTo>
                  <a:cubicBezTo>
                    <a:pt x="157" y="89"/>
                    <a:pt x="159" y="87"/>
                    <a:pt x="159" y="87"/>
                  </a:cubicBezTo>
                  <a:cubicBezTo>
                    <a:pt x="159" y="87"/>
                    <a:pt x="163" y="90"/>
                    <a:pt x="170" y="93"/>
                  </a:cubicBezTo>
                  <a:cubicBezTo>
                    <a:pt x="176" y="90"/>
                    <a:pt x="191" y="92"/>
                    <a:pt x="193" y="87"/>
                  </a:cubicBezTo>
                  <a:cubicBezTo>
                    <a:pt x="195" y="82"/>
                    <a:pt x="192" y="71"/>
                    <a:pt x="191" y="66"/>
                  </a:cubicBezTo>
                  <a:cubicBezTo>
                    <a:pt x="191" y="65"/>
                    <a:pt x="191" y="64"/>
                    <a:pt x="192" y="63"/>
                  </a:cubicBezTo>
                  <a:cubicBezTo>
                    <a:pt x="194" y="61"/>
                    <a:pt x="198" y="58"/>
                    <a:pt x="196" y="56"/>
                  </a:cubicBezTo>
                  <a:cubicBezTo>
                    <a:pt x="193" y="54"/>
                    <a:pt x="182" y="55"/>
                    <a:pt x="183" y="41"/>
                  </a:cubicBezTo>
                  <a:cubicBezTo>
                    <a:pt x="184" y="30"/>
                    <a:pt x="179" y="24"/>
                    <a:pt x="175" y="21"/>
                  </a:cubicBezTo>
                  <a:cubicBezTo>
                    <a:pt x="179" y="11"/>
                    <a:pt x="158" y="6"/>
                    <a:pt x="144" y="6"/>
                  </a:cubicBezTo>
                  <a:moveTo>
                    <a:pt x="241" y="83"/>
                  </a:moveTo>
                  <a:cubicBezTo>
                    <a:pt x="242" y="78"/>
                    <a:pt x="242" y="69"/>
                    <a:pt x="242" y="68"/>
                  </a:cubicBezTo>
                  <a:cubicBezTo>
                    <a:pt x="243" y="65"/>
                    <a:pt x="244" y="60"/>
                    <a:pt x="244" y="56"/>
                  </a:cubicBezTo>
                  <a:cubicBezTo>
                    <a:pt x="244" y="52"/>
                    <a:pt x="242" y="51"/>
                    <a:pt x="240" y="43"/>
                  </a:cubicBezTo>
                  <a:cubicBezTo>
                    <a:pt x="275" y="38"/>
                    <a:pt x="275" y="38"/>
                    <a:pt x="275" y="38"/>
                  </a:cubicBezTo>
                  <a:cubicBezTo>
                    <a:pt x="275" y="38"/>
                    <a:pt x="275" y="38"/>
                    <a:pt x="275" y="38"/>
                  </a:cubicBezTo>
                  <a:cubicBezTo>
                    <a:pt x="275" y="39"/>
                    <a:pt x="276" y="39"/>
                    <a:pt x="276" y="39"/>
                  </a:cubicBezTo>
                  <a:cubicBezTo>
                    <a:pt x="277" y="39"/>
                    <a:pt x="277" y="39"/>
                    <a:pt x="277" y="39"/>
                  </a:cubicBezTo>
                  <a:cubicBezTo>
                    <a:pt x="280" y="39"/>
                    <a:pt x="280" y="39"/>
                    <a:pt x="280" y="39"/>
                  </a:cubicBezTo>
                  <a:cubicBezTo>
                    <a:pt x="280" y="44"/>
                    <a:pt x="281" y="54"/>
                    <a:pt x="282" y="58"/>
                  </a:cubicBezTo>
                  <a:cubicBezTo>
                    <a:pt x="283" y="64"/>
                    <a:pt x="277" y="84"/>
                    <a:pt x="277" y="84"/>
                  </a:cubicBezTo>
                  <a:cubicBezTo>
                    <a:pt x="276" y="83"/>
                    <a:pt x="275" y="83"/>
                    <a:pt x="275" y="83"/>
                  </a:cubicBezTo>
                  <a:cubicBezTo>
                    <a:pt x="275" y="87"/>
                    <a:pt x="265" y="108"/>
                    <a:pt x="250" y="126"/>
                  </a:cubicBezTo>
                  <a:cubicBezTo>
                    <a:pt x="251" y="104"/>
                    <a:pt x="250" y="83"/>
                    <a:pt x="250" y="83"/>
                  </a:cubicBezTo>
                  <a:cubicBezTo>
                    <a:pt x="241" y="83"/>
                    <a:pt x="241" y="83"/>
                    <a:pt x="241" y="83"/>
                  </a:cubicBezTo>
                  <a:moveTo>
                    <a:pt x="390" y="0"/>
                  </a:moveTo>
                  <a:cubicBezTo>
                    <a:pt x="382" y="2"/>
                    <a:pt x="382" y="2"/>
                    <a:pt x="382" y="2"/>
                  </a:cubicBezTo>
                  <a:cubicBezTo>
                    <a:pt x="380" y="2"/>
                    <a:pt x="380" y="2"/>
                    <a:pt x="380" y="2"/>
                  </a:cubicBezTo>
                  <a:cubicBezTo>
                    <a:pt x="308" y="16"/>
                    <a:pt x="308" y="16"/>
                    <a:pt x="308" y="16"/>
                  </a:cubicBezTo>
                  <a:cubicBezTo>
                    <a:pt x="308" y="14"/>
                    <a:pt x="307" y="12"/>
                    <a:pt x="304" y="12"/>
                  </a:cubicBezTo>
                  <a:cubicBezTo>
                    <a:pt x="300" y="12"/>
                    <a:pt x="285" y="16"/>
                    <a:pt x="280" y="19"/>
                  </a:cubicBezTo>
                  <a:cubicBezTo>
                    <a:pt x="279" y="20"/>
                    <a:pt x="279" y="21"/>
                    <a:pt x="279" y="22"/>
                  </a:cubicBezTo>
                  <a:cubicBezTo>
                    <a:pt x="274" y="23"/>
                    <a:pt x="274" y="23"/>
                    <a:pt x="274" y="23"/>
                  </a:cubicBezTo>
                  <a:cubicBezTo>
                    <a:pt x="273" y="23"/>
                    <a:pt x="273" y="24"/>
                    <a:pt x="273" y="25"/>
                  </a:cubicBezTo>
                  <a:cubicBezTo>
                    <a:pt x="273" y="25"/>
                    <a:pt x="273" y="25"/>
                    <a:pt x="273" y="25"/>
                  </a:cubicBezTo>
                  <a:cubicBezTo>
                    <a:pt x="239" y="31"/>
                    <a:pt x="239" y="31"/>
                    <a:pt x="239" y="31"/>
                  </a:cubicBezTo>
                  <a:cubicBezTo>
                    <a:pt x="239" y="30"/>
                    <a:pt x="238" y="30"/>
                    <a:pt x="238" y="30"/>
                  </a:cubicBezTo>
                  <a:cubicBezTo>
                    <a:pt x="234" y="29"/>
                    <a:pt x="230" y="28"/>
                    <a:pt x="227" y="28"/>
                  </a:cubicBezTo>
                  <a:cubicBezTo>
                    <a:pt x="219" y="28"/>
                    <a:pt x="213" y="31"/>
                    <a:pt x="211" y="35"/>
                  </a:cubicBezTo>
                  <a:cubicBezTo>
                    <a:pt x="211" y="36"/>
                    <a:pt x="211" y="36"/>
                    <a:pt x="211" y="37"/>
                  </a:cubicBezTo>
                  <a:cubicBezTo>
                    <a:pt x="195" y="40"/>
                    <a:pt x="195" y="40"/>
                    <a:pt x="195" y="40"/>
                  </a:cubicBezTo>
                  <a:cubicBezTo>
                    <a:pt x="194" y="40"/>
                    <a:pt x="194" y="40"/>
                    <a:pt x="194" y="40"/>
                  </a:cubicBezTo>
                  <a:cubicBezTo>
                    <a:pt x="189" y="41"/>
                    <a:pt x="189" y="41"/>
                    <a:pt x="189" y="41"/>
                  </a:cubicBezTo>
                  <a:cubicBezTo>
                    <a:pt x="191" y="49"/>
                    <a:pt x="191" y="49"/>
                    <a:pt x="191" y="49"/>
                  </a:cubicBezTo>
                  <a:cubicBezTo>
                    <a:pt x="195" y="48"/>
                    <a:pt x="195" y="48"/>
                    <a:pt x="195" y="48"/>
                  </a:cubicBezTo>
                  <a:cubicBezTo>
                    <a:pt x="196" y="48"/>
                    <a:pt x="196" y="48"/>
                    <a:pt x="196" y="48"/>
                  </a:cubicBezTo>
                  <a:cubicBezTo>
                    <a:pt x="211" y="46"/>
                    <a:pt x="211" y="46"/>
                    <a:pt x="211" y="46"/>
                  </a:cubicBezTo>
                  <a:cubicBezTo>
                    <a:pt x="213" y="52"/>
                    <a:pt x="215" y="59"/>
                    <a:pt x="218" y="63"/>
                  </a:cubicBezTo>
                  <a:cubicBezTo>
                    <a:pt x="223" y="70"/>
                    <a:pt x="223" y="79"/>
                    <a:pt x="223" y="83"/>
                  </a:cubicBezTo>
                  <a:cubicBezTo>
                    <a:pt x="223" y="85"/>
                    <a:pt x="223" y="85"/>
                    <a:pt x="223" y="86"/>
                  </a:cubicBezTo>
                  <a:cubicBezTo>
                    <a:pt x="223" y="86"/>
                    <a:pt x="223" y="86"/>
                    <a:pt x="223" y="86"/>
                  </a:cubicBezTo>
                  <a:cubicBezTo>
                    <a:pt x="223" y="99"/>
                    <a:pt x="224" y="114"/>
                    <a:pt x="223" y="126"/>
                  </a:cubicBezTo>
                  <a:cubicBezTo>
                    <a:pt x="224" y="126"/>
                    <a:pt x="224" y="127"/>
                    <a:pt x="224" y="127"/>
                  </a:cubicBezTo>
                  <a:cubicBezTo>
                    <a:pt x="225" y="128"/>
                    <a:pt x="226" y="129"/>
                    <a:pt x="226" y="130"/>
                  </a:cubicBezTo>
                  <a:cubicBezTo>
                    <a:pt x="227" y="131"/>
                    <a:pt x="227" y="132"/>
                    <a:pt x="228" y="133"/>
                  </a:cubicBezTo>
                  <a:cubicBezTo>
                    <a:pt x="229" y="133"/>
                    <a:pt x="229" y="133"/>
                    <a:pt x="230" y="133"/>
                  </a:cubicBezTo>
                  <a:cubicBezTo>
                    <a:pt x="242" y="133"/>
                    <a:pt x="254" y="130"/>
                    <a:pt x="263" y="122"/>
                  </a:cubicBezTo>
                  <a:cubicBezTo>
                    <a:pt x="285" y="102"/>
                    <a:pt x="298" y="72"/>
                    <a:pt x="299" y="67"/>
                  </a:cubicBezTo>
                  <a:cubicBezTo>
                    <a:pt x="299" y="67"/>
                    <a:pt x="300" y="67"/>
                    <a:pt x="300" y="68"/>
                  </a:cubicBezTo>
                  <a:cubicBezTo>
                    <a:pt x="302" y="63"/>
                    <a:pt x="305" y="58"/>
                    <a:pt x="306" y="56"/>
                  </a:cubicBezTo>
                  <a:cubicBezTo>
                    <a:pt x="307" y="53"/>
                    <a:pt x="310" y="36"/>
                    <a:pt x="307" y="35"/>
                  </a:cubicBezTo>
                  <a:cubicBezTo>
                    <a:pt x="384" y="26"/>
                    <a:pt x="384" y="26"/>
                    <a:pt x="384" y="26"/>
                  </a:cubicBezTo>
                  <a:cubicBezTo>
                    <a:pt x="386" y="26"/>
                    <a:pt x="386" y="26"/>
                    <a:pt x="386" y="26"/>
                  </a:cubicBezTo>
                  <a:cubicBezTo>
                    <a:pt x="394" y="25"/>
                    <a:pt x="394" y="25"/>
                    <a:pt x="394" y="25"/>
                  </a:cubicBezTo>
                  <a:cubicBezTo>
                    <a:pt x="390" y="0"/>
                    <a:pt x="390" y="0"/>
                    <a:pt x="390" y="0"/>
                  </a:cubicBezTo>
                </a:path>
              </a:pathLst>
            </a:custGeom>
            <a:solidFill>
              <a:schemeClr val="accent3">
                <a:lumMod val="75000"/>
                <a:alpha val="50000"/>
              </a:schemeClr>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92" name="Google Shape;1445;p8">
              <a:extLst>
                <a:ext uri="{FF2B5EF4-FFF2-40B4-BE49-F238E27FC236}">
                  <a16:creationId xmlns:a16="http://schemas.microsoft.com/office/drawing/2014/main" id="{348574AB-CE12-41A8-8FAE-7CB5AC25BB50}"/>
                </a:ext>
              </a:extLst>
            </p:cNvPr>
            <p:cNvSpPr/>
            <p:nvPr/>
          </p:nvSpPr>
          <p:spPr>
            <a:xfrm flipH="1">
              <a:off x="2601575" y="2547004"/>
              <a:ext cx="0" cy="4800"/>
            </a:xfrm>
            <a:custGeom>
              <a:avLst/>
              <a:gdLst/>
              <a:ahLst/>
              <a:cxnLst/>
              <a:rect l="l" t="t" r="r" b="b"/>
              <a:pathLst>
                <a:path w="119999" h="3" extrusionOk="0">
                  <a:moveTo>
                    <a:pt x="0" y="0"/>
                  </a:moveTo>
                  <a:cubicBezTo>
                    <a:pt x="0" y="0"/>
                    <a:pt x="0" y="0"/>
                    <a:pt x="0" y="0"/>
                  </a:cubicBezTo>
                  <a:cubicBezTo>
                    <a:pt x="0" y="1"/>
                    <a:pt x="0" y="2"/>
                    <a:pt x="0" y="3"/>
                  </a:cubicBezTo>
                  <a:cubicBezTo>
                    <a:pt x="0" y="2"/>
                    <a:pt x="0" y="2"/>
                    <a:pt x="0" y="0"/>
                  </a:cubicBezTo>
                </a:path>
              </a:pathLst>
            </a:custGeom>
            <a:solidFill>
              <a:srgbClr val="B29540"/>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93" name="Google Shape;1446;p8">
              <a:extLst>
                <a:ext uri="{FF2B5EF4-FFF2-40B4-BE49-F238E27FC236}">
                  <a16:creationId xmlns:a16="http://schemas.microsoft.com/office/drawing/2014/main" id="{EEB52B6D-2AAF-400F-89E2-B41D47C2691B}"/>
                </a:ext>
              </a:extLst>
            </p:cNvPr>
            <p:cNvSpPr/>
            <p:nvPr/>
          </p:nvSpPr>
          <p:spPr>
            <a:xfrm>
              <a:off x="2519985" y="3079747"/>
              <a:ext cx="78392" cy="315165"/>
            </a:xfrm>
            <a:custGeom>
              <a:avLst/>
              <a:gdLst/>
              <a:ahLst/>
              <a:cxnLst/>
              <a:rect l="l" t="t" r="r" b="b"/>
              <a:pathLst>
                <a:path w="57" h="229" extrusionOk="0">
                  <a:moveTo>
                    <a:pt x="1" y="30"/>
                  </a:moveTo>
                  <a:cubicBezTo>
                    <a:pt x="1" y="30"/>
                    <a:pt x="0" y="67"/>
                    <a:pt x="6" y="105"/>
                  </a:cubicBezTo>
                  <a:cubicBezTo>
                    <a:pt x="6" y="105"/>
                    <a:pt x="11" y="134"/>
                    <a:pt x="6" y="168"/>
                  </a:cubicBezTo>
                  <a:cubicBezTo>
                    <a:pt x="1" y="203"/>
                    <a:pt x="32" y="229"/>
                    <a:pt x="51" y="229"/>
                  </a:cubicBezTo>
                  <a:cubicBezTo>
                    <a:pt x="55" y="229"/>
                    <a:pt x="57" y="226"/>
                    <a:pt x="48" y="215"/>
                  </a:cubicBezTo>
                  <a:cubicBezTo>
                    <a:pt x="38" y="205"/>
                    <a:pt x="32" y="182"/>
                    <a:pt x="32" y="167"/>
                  </a:cubicBezTo>
                  <a:cubicBezTo>
                    <a:pt x="33" y="153"/>
                    <a:pt x="43" y="33"/>
                    <a:pt x="44" y="26"/>
                  </a:cubicBezTo>
                  <a:cubicBezTo>
                    <a:pt x="46" y="20"/>
                    <a:pt x="12" y="0"/>
                    <a:pt x="1" y="30"/>
                  </a:cubicBezTo>
                  <a:close/>
                </a:path>
              </a:pathLst>
            </a:custGeom>
            <a:solidFill>
              <a:srgbClr val="F7B583"/>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94" name="Google Shape;1447;p8">
              <a:extLst>
                <a:ext uri="{FF2B5EF4-FFF2-40B4-BE49-F238E27FC236}">
                  <a16:creationId xmlns:a16="http://schemas.microsoft.com/office/drawing/2014/main" id="{2FFA770A-6F00-4406-AC9B-DDA4F74D9C0F}"/>
                </a:ext>
              </a:extLst>
            </p:cNvPr>
            <p:cNvSpPr/>
            <p:nvPr/>
          </p:nvSpPr>
          <p:spPr>
            <a:xfrm>
              <a:off x="2510386" y="3303720"/>
              <a:ext cx="102389" cy="103989"/>
            </a:xfrm>
            <a:custGeom>
              <a:avLst/>
              <a:gdLst/>
              <a:ahLst/>
              <a:cxnLst/>
              <a:rect l="l" t="t" r="r" b="b"/>
              <a:pathLst>
                <a:path w="75" h="75" extrusionOk="0">
                  <a:moveTo>
                    <a:pt x="13" y="0"/>
                  </a:moveTo>
                  <a:cubicBezTo>
                    <a:pt x="13" y="0"/>
                    <a:pt x="0" y="0"/>
                    <a:pt x="2" y="28"/>
                  </a:cubicBezTo>
                  <a:cubicBezTo>
                    <a:pt x="3" y="56"/>
                    <a:pt x="4" y="73"/>
                    <a:pt x="4" y="73"/>
                  </a:cubicBezTo>
                  <a:cubicBezTo>
                    <a:pt x="10" y="73"/>
                    <a:pt x="10" y="73"/>
                    <a:pt x="10" y="73"/>
                  </a:cubicBezTo>
                  <a:cubicBezTo>
                    <a:pt x="10" y="73"/>
                    <a:pt x="11" y="35"/>
                    <a:pt x="13" y="36"/>
                  </a:cubicBezTo>
                  <a:cubicBezTo>
                    <a:pt x="16" y="36"/>
                    <a:pt x="28" y="52"/>
                    <a:pt x="30" y="62"/>
                  </a:cubicBezTo>
                  <a:cubicBezTo>
                    <a:pt x="31" y="72"/>
                    <a:pt x="39" y="72"/>
                    <a:pt x="39" y="72"/>
                  </a:cubicBezTo>
                  <a:cubicBezTo>
                    <a:pt x="39" y="72"/>
                    <a:pt x="58" y="75"/>
                    <a:pt x="72" y="72"/>
                  </a:cubicBezTo>
                  <a:cubicBezTo>
                    <a:pt x="74" y="72"/>
                    <a:pt x="75" y="70"/>
                    <a:pt x="74" y="68"/>
                  </a:cubicBezTo>
                  <a:cubicBezTo>
                    <a:pt x="72" y="64"/>
                    <a:pt x="66" y="57"/>
                    <a:pt x="49" y="45"/>
                  </a:cubicBezTo>
                  <a:cubicBezTo>
                    <a:pt x="49" y="45"/>
                    <a:pt x="63" y="66"/>
                    <a:pt x="51" y="62"/>
                  </a:cubicBezTo>
                  <a:cubicBezTo>
                    <a:pt x="29" y="55"/>
                    <a:pt x="19" y="40"/>
                    <a:pt x="13" y="0"/>
                  </a:cubicBezTo>
                  <a:close/>
                </a:path>
              </a:pathLst>
            </a:custGeom>
            <a:solidFill>
              <a:schemeClr val="accent3">
                <a:lumMod val="100000"/>
              </a:schemeClr>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95" name="Google Shape;1448;p8">
              <a:extLst>
                <a:ext uri="{FF2B5EF4-FFF2-40B4-BE49-F238E27FC236}">
                  <a16:creationId xmlns:a16="http://schemas.microsoft.com/office/drawing/2014/main" id="{80AF4614-6593-4EF1-8E7F-4ABD99C11A08}"/>
                </a:ext>
              </a:extLst>
            </p:cNvPr>
            <p:cNvSpPr/>
            <p:nvPr/>
          </p:nvSpPr>
          <p:spPr>
            <a:xfrm>
              <a:off x="2379200" y="3073347"/>
              <a:ext cx="100789" cy="319965"/>
            </a:xfrm>
            <a:custGeom>
              <a:avLst/>
              <a:gdLst/>
              <a:ahLst/>
              <a:cxnLst/>
              <a:rect l="l" t="t" r="r" b="b"/>
              <a:pathLst>
                <a:path w="73" h="233" extrusionOk="0">
                  <a:moveTo>
                    <a:pt x="30" y="28"/>
                  </a:moveTo>
                  <a:cubicBezTo>
                    <a:pt x="30" y="28"/>
                    <a:pt x="21" y="65"/>
                    <a:pt x="20" y="104"/>
                  </a:cubicBezTo>
                  <a:cubicBezTo>
                    <a:pt x="20" y="104"/>
                    <a:pt x="21" y="132"/>
                    <a:pt x="10" y="166"/>
                  </a:cubicBezTo>
                  <a:cubicBezTo>
                    <a:pt x="0" y="199"/>
                    <a:pt x="27" y="230"/>
                    <a:pt x="46" y="233"/>
                  </a:cubicBezTo>
                  <a:cubicBezTo>
                    <a:pt x="49" y="233"/>
                    <a:pt x="52" y="231"/>
                    <a:pt x="44" y="219"/>
                  </a:cubicBezTo>
                  <a:cubicBezTo>
                    <a:pt x="36" y="207"/>
                    <a:pt x="34" y="184"/>
                    <a:pt x="37" y="169"/>
                  </a:cubicBezTo>
                  <a:cubicBezTo>
                    <a:pt x="40" y="155"/>
                    <a:pt x="68" y="38"/>
                    <a:pt x="71" y="32"/>
                  </a:cubicBezTo>
                  <a:cubicBezTo>
                    <a:pt x="73" y="25"/>
                    <a:pt x="46" y="0"/>
                    <a:pt x="30" y="28"/>
                  </a:cubicBezTo>
                  <a:close/>
                </a:path>
              </a:pathLst>
            </a:custGeom>
            <a:solidFill>
              <a:srgbClr val="F7B583"/>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96" name="Google Shape;1449;p8">
              <a:extLst>
                <a:ext uri="{FF2B5EF4-FFF2-40B4-BE49-F238E27FC236}">
                  <a16:creationId xmlns:a16="http://schemas.microsoft.com/office/drawing/2014/main" id="{FC5804FE-790D-486E-8D06-E8249A795F4A}"/>
                </a:ext>
              </a:extLst>
            </p:cNvPr>
            <p:cNvSpPr/>
            <p:nvPr/>
          </p:nvSpPr>
          <p:spPr>
            <a:xfrm>
              <a:off x="2366402" y="3290923"/>
              <a:ext cx="97591" cy="115187"/>
            </a:xfrm>
            <a:custGeom>
              <a:avLst/>
              <a:gdLst/>
              <a:ahLst/>
              <a:cxnLst/>
              <a:rect l="l" t="t" r="r" b="b"/>
              <a:pathLst>
                <a:path w="71" h="84" extrusionOk="0">
                  <a:moveTo>
                    <a:pt x="21" y="2"/>
                  </a:moveTo>
                  <a:cubicBezTo>
                    <a:pt x="21" y="2"/>
                    <a:pt x="8" y="0"/>
                    <a:pt x="5" y="28"/>
                  </a:cubicBezTo>
                  <a:cubicBezTo>
                    <a:pt x="2" y="56"/>
                    <a:pt x="0" y="73"/>
                    <a:pt x="0" y="73"/>
                  </a:cubicBezTo>
                  <a:cubicBezTo>
                    <a:pt x="6" y="74"/>
                    <a:pt x="6" y="74"/>
                    <a:pt x="6" y="74"/>
                  </a:cubicBezTo>
                  <a:cubicBezTo>
                    <a:pt x="6" y="74"/>
                    <a:pt x="13" y="37"/>
                    <a:pt x="15" y="38"/>
                  </a:cubicBezTo>
                  <a:cubicBezTo>
                    <a:pt x="17" y="39"/>
                    <a:pt x="27" y="57"/>
                    <a:pt x="27" y="66"/>
                  </a:cubicBezTo>
                  <a:cubicBezTo>
                    <a:pt x="27" y="76"/>
                    <a:pt x="34" y="77"/>
                    <a:pt x="34" y="77"/>
                  </a:cubicBezTo>
                  <a:cubicBezTo>
                    <a:pt x="34" y="77"/>
                    <a:pt x="53" y="84"/>
                    <a:pt x="67" y="83"/>
                  </a:cubicBezTo>
                  <a:cubicBezTo>
                    <a:pt x="69" y="83"/>
                    <a:pt x="71" y="82"/>
                    <a:pt x="70" y="80"/>
                  </a:cubicBezTo>
                  <a:cubicBezTo>
                    <a:pt x="69" y="75"/>
                    <a:pt x="64" y="67"/>
                    <a:pt x="49" y="53"/>
                  </a:cubicBezTo>
                  <a:cubicBezTo>
                    <a:pt x="49" y="53"/>
                    <a:pt x="60" y="75"/>
                    <a:pt x="48" y="70"/>
                  </a:cubicBezTo>
                  <a:cubicBezTo>
                    <a:pt x="28" y="60"/>
                    <a:pt x="19" y="43"/>
                    <a:pt x="21" y="2"/>
                  </a:cubicBezTo>
                  <a:close/>
                </a:path>
              </a:pathLst>
            </a:custGeom>
            <a:solidFill>
              <a:schemeClr val="accent3">
                <a:lumMod val="100000"/>
              </a:schemeClr>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97" name="Google Shape;1450;p8">
              <a:extLst>
                <a:ext uri="{FF2B5EF4-FFF2-40B4-BE49-F238E27FC236}">
                  <a16:creationId xmlns:a16="http://schemas.microsoft.com/office/drawing/2014/main" id="{65D86AB8-9E48-471A-9C37-CE738574FF36}"/>
                </a:ext>
              </a:extLst>
            </p:cNvPr>
            <p:cNvSpPr/>
            <p:nvPr/>
          </p:nvSpPr>
          <p:spPr>
            <a:xfrm>
              <a:off x="2563179" y="2524607"/>
              <a:ext cx="174384" cy="147184"/>
            </a:xfrm>
            <a:custGeom>
              <a:avLst/>
              <a:gdLst/>
              <a:ahLst/>
              <a:cxnLst/>
              <a:rect l="l" t="t" r="r" b="b"/>
              <a:pathLst>
                <a:path w="125" h="107" extrusionOk="0">
                  <a:moveTo>
                    <a:pt x="2" y="61"/>
                  </a:moveTo>
                  <a:cubicBezTo>
                    <a:pt x="2" y="61"/>
                    <a:pt x="47" y="75"/>
                    <a:pt x="68" y="55"/>
                  </a:cubicBezTo>
                  <a:cubicBezTo>
                    <a:pt x="90" y="35"/>
                    <a:pt x="103" y="5"/>
                    <a:pt x="104" y="0"/>
                  </a:cubicBezTo>
                  <a:cubicBezTo>
                    <a:pt x="104" y="0"/>
                    <a:pt x="119" y="7"/>
                    <a:pt x="126" y="11"/>
                  </a:cubicBezTo>
                  <a:cubicBezTo>
                    <a:pt x="126" y="11"/>
                    <a:pt x="106" y="66"/>
                    <a:pt x="78" y="86"/>
                  </a:cubicBezTo>
                  <a:cubicBezTo>
                    <a:pt x="54" y="104"/>
                    <a:pt x="6" y="107"/>
                    <a:pt x="0" y="107"/>
                  </a:cubicBezTo>
                  <a:cubicBezTo>
                    <a:pt x="2" y="61"/>
                    <a:pt x="2" y="61"/>
                    <a:pt x="2" y="61"/>
                  </a:cubicBezTo>
                </a:path>
              </a:pathLst>
            </a:custGeom>
            <a:solidFill>
              <a:schemeClr val="accent2">
                <a:lumMod val="75000"/>
              </a:schemeClr>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98" name="Google Shape;1451;p8">
              <a:extLst>
                <a:ext uri="{FF2B5EF4-FFF2-40B4-BE49-F238E27FC236}">
                  <a16:creationId xmlns:a16="http://schemas.microsoft.com/office/drawing/2014/main" id="{FBAD085F-20E6-4CA3-856F-12962EBCAD75}"/>
                </a:ext>
              </a:extLst>
            </p:cNvPr>
            <p:cNvSpPr/>
            <p:nvPr/>
          </p:nvSpPr>
          <p:spPr>
            <a:xfrm>
              <a:off x="2475189" y="2417419"/>
              <a:ext cx="126387" cy="159981"/>
            </a:xfrm>
            <a:custGeom>
              <a:avLst/>
              <a:gdLst/>
              <a:ahLst/>
              <a:cxnLst/>
              <a:rect l="l" t="t" r="r" b="b"/>
              <a:pathLst>
                <a:path w="91" h="115" extrusionOk="0">
                  <a:moveTo>
                    <a:pt x="28" y="98"/>
                  </a:moveTo>
                  <a:cubicBezTo>
                    <a:pt x="28" y="98"/>
                    <a:pt x="27" y="89"/>
                    <a:pt x="24" y="84"/>
                  </a:cubicBezTo>
                  <a:cubicBezTo>
                    <a:pt x="21" y="79"/>
                    <a:pt x="0" y="50"/>
                    <a:pt x="15" y="25"/>
                  </a:cubicBezTo>
                  <a:cubicBezTo>
                    <a:pt x="30" y="0"/>
                    <a:pt x="60" y="12"/>
                    <a:pt x="60" y="12"/>
                  </a:cubicBezTo>
                  <a:cubicBezTo>
                    <a:pt x="60" y="12"/>
                    <a:pt x="77" y="14"/>
                    <a:pt x="76" y="36"/>
                  </a:cubicBezTo>
                  <a:cubicBezTo>
                    <a:pt x="75" y="50"/>
                    <a:pt x="86" y="49"/>
                    <a:pt x="89" y="51"/>
                  </a:cubicBezTo>
                  <a:cubicBezTo>
                    <a:pt x="91" y="53"/>
                    <a:pt x="87" y="56"/>
                    <a:pt x="85" y="58"/>
                  </a:cubicBezTo>
                  <a:cubicBezTo>
                    <a:pt x="84" y="59"/>
                    <a:pt x="84" y="60"/>
                    <a:pt x="84" y="61"/>
                  </a:cubicBezTo>
                  <a:cubicBezTo>
                    <a:pt x="85" y="66"/>
                    <a:pt x="88" y="77"/>
                    <a:pt x="86" y="82"/>
                  </a:cubicBezTo>
                  <a:cubicBezTo>
                    <a:pt x="83" y="87"/>
                    <a:pt x="69" y="85"/>
                    <a:pt x="62" y="89"/>
                  </a:cubicBezTo>
                  <a:cubicBezTo>
                    <a:pt x="56" y="93"/>
                    <a:pt x="58" y="116"/>
                    <a:pt x="58" y="116"/>
                  </a:cubicBezTo>
                  <a:lnTo>
                    <a:pt x="28" y="98"/>
                  </a:lnTo>
                  <a:close/>
                </a:path>
              </a:pathLst>
            </a:custGeom>
            <a:solidFill>
              <a:srgbClr val="F7B583"/>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399" name="Google Shape;1452;p8">
              <a:extLst>
                <a:ext uri="{FF2B5EF4-FFF2-40B4-BE49-F238E27FC236}">
                  <a16:creationId xmlns:a16="http://schemas.microsoft.com/office/drawing/2014/main" id="{AD7FDB3D-1E25-4D33-BC73-D7FA49EE6F20}"/>
                </a:ext>
              </a:extLst>
            </p:cNvPr>
            <p:cNvSpPr/>
            <p:nvPr/>
          </p:nvSpPr>
          <p:spPr>
            <a:xfrm>
              <a:off x="2328006" y="2419017"/>
              <a:ext cx="251173" cy="203179"/>
            </a:xfrm>
            <a:custGeom>
              <a:avLst/>
              <a:gdLst/>
              <a:ahLst/>
              <a:cxnLst/>
              <a:rect l="l" t="t" r="r" b="b"/>
              <a:pathLst>
                <a:path w="182" h="147" extrusionOk="0">
                  <a:moveTo>
                    <a:pt x="163" y="58"/>
                  </a:moveTo>
                  <a:cubicBezTo>
                    <a:pt x="161" y="59"/>
                    <a:pt x="158" y="56"/>
                    <a:pt x="157" y="53"/>
                  </a:cubicBezTo>
                  <a:cubicBezTo>
                    <a:pt x="156" y="51"/>
                    <a:pt x="155" y="48"/>
                    <a:pt x="153" y="46"/>
                  </a:cubicBezTo>
                  <a:cubicBezTo>
                    <a:pt x="149" y="44"/>
                    <a:pt x="144" y="47"/>
                    <a:pt x="143" y="51"/>
                  </a:cubicBezTo>
                  <a:cubicBezTo>
                    <a:pt x="141" y="55"/>
                    <a:pt x="143" y="60"/>
                    <a:pt x="146" y="63"/>
                  </a:cubicBezTo>
                  <a:cubicBezTo>
                    <a:pt x="147" y="66"/>
                    <a:pt x="150" y="68"/>
                    <a:pt x="150" y="71"/>
                  </a:cubicBezTo>
                  <a:cubicBezTo>
                    <a:pt x="151" y="75"/>
                    <a:pt x="150" y="79"/>
                    <a:pt x="147" y="82"/>
                  </a:cubicBezTo>
                  <a:cubicBezTo>
                    <a:pt x="144" y="85"/>
                    <a:pt x="109" y="140"/>
                    <a:pt x="50" y="146"/>
                  </a:cubicBezTo>
                  <a:cubicBezTo>
                    <a:pt x="34" y="147"/>
                    <a:pt x="18" y="143"/>
                    <a:pt x="9" y="129"/>
                  </a:cubicBezTo>
                  <a:cubicBezTo>
                    <a:pt x="2" y="119"/>
                    <a:pt x="0" y="106"/>
                    <a:pt x="5" y="95"/>
                  </a:cubicBezTo>
                  <a:cubicBezTo>
                    <a:pt x="10" y="82"/>
                    <a:pt x="22" y="78"/>
                    <a:pt x="35" y="78"/>
                  </a:cubicBezTo>
                  <a:cubicBezTo>
                    <a:pt x="55" y="77"/>
                    <a:pt x="84" y="73"/>
                    <a:pt x="97" y="57"/>
                  </a:cubicBezTo>
                  <a:cubicBezTo>
                    <a:pt x="104" y="49"/>
                    <a:pt x="104" y="33"/>
                    <a:pt x="109" y="23"/>
                  </a:cubicBezTo>
                  <a:cubicBezTo>
                    <a:pt x="115" y="8"/>
                    <a:pt x="127" y="1"/>
                    <a:pt x="143" y="0"/>
                  </a:cubicBezTo>
                  <a:cubicBezTo>
                    <a:pt x="159" y="0"/>
                    <a:pt x="182" y="5"/>
                    <a:pt x="174" y="16"/>
                  </a:cubicBezTo>
                  <a:cubicBezTo>
                    <a:pt x="170" y="22"/>
                    <a:pt x="168" y="28"/>
                    <a:pt x="167" y="35"/>
                  </a:cubicBezTo>
                  <a:cubicBezTo>
                    <a:pt x="165" y="42"/>
                    <a:pt x="168" y="56"/>
                    <a:pt x="163" y="58"/>
                  </a:cubicBezTo>
                  <a:close/>
                </a:path>
              </a:pathLst>
            </a:custGeom>
            <a:solidFill>
              <a:srgbClr val="26140B"/>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400" name="Google Shape;1453;p8">
              <a:extLst>
                <a:ext uri="{FF2B5EF4-FFF2-40B4-BE49-F238E27FC236}">
                  <a16:creationId xmlns:a16="http://schemas.microsoft.com/office/drawing/2014/main" id="{5AB8B227-BB3F-4A30-8D14-64CD941277D2}"/>
                </a:ext>
              </a:extLst>
            </p:cNvPr>
            <p:cNvSpPr/>
            <p:nvPr/>
          </p:nvSpPr>
          <p:spPr>
            <a:xfrm>
              <a:off x="2470389" y="2553404"/>
              <a:ext cx="148784" cy="273569"/>
            </a:xfrm>
            <a:custGeom>
              <a:avLst/>
              <a:gdLst/>
              <a:ahLst/>
              <a:cxnLst/>
              <a:rect l="l" t="t" r="r" b="b"/>
              <a:pathLst>
                <a:path w="108" h="199" extrusionOk="0">
                  <a:moveTo>
                    <a:pt x="98" y="96"/>
                  </a:moveTo>
                  <a:cubicBezTo>
                    <a:pt x="91" y="116"/>
                    <a:pt x="99" y="188"/>
                    <a:pt x="105" y="199"/>
                  </a:cubicBezTo>
                  <a:cubicBezTo>
                    <a:pt x="105" y="199"/>
                    <a:pt x="8" y="199"/>
                    <a:pt x="0" y="199"/>
                  </a:cubicBezTo>
                  <a:cubicBezTo>
                    <a:pt x="0" y="199"/>
                    <a:pt x="23" y="152"/>
                    <a:pt x="15" y="125"/>
                  </a:cubicBezTo>
                  <a:cubicBezTo>
                    <a:pt x="8" y="97"/>
                    <a:pt x="3" y="92"/>
                    <a:pt x="2" y="58"/>
                  </a:cubicBezTo>
                  <a:cubicBezTo>
                    <a:pt x="1" y="34"/>
                    <a:pt x="18" y="14"/>
                    <a:pt x="27" y="5"/>
                  </a:cubicBezTo>
                  <a:cubicBezTo>
                    <a:pt x="27" y="5"/>
                    <a:pt x="27" y="5"/>
                    <a:pt x="27" y="5"/>
                  </a:cubicBezTo>
                  <a:cubicBezTo>
                    <a:pt x="30" y="2"/>
                    <a:pt x="32" y="0"/>
                    <a:pt x="32" y="0"/>
                  </a:cubicBezTo>
                  <a:cubicBezTo>
                    <a:pt x="32" y="0"/>
                    <a:pt x="61" y="18"/>
                    <a:pt x="80" y="27"/>
                  </a:cubicBezTo>
                  <a:cubicBezTo>
                    <a:pt x="87" y="30"/>
                    <a:pt x="93" y="34"/>
                    <a:pt x="97" y="40"/>
                  </a:cubicBezTo>
                  <a:cubicBezTo>
                    <a:pt x="98" y="41"/>
                    <a:pt x="99" y="42"/>
                    <a:pt x="99" y="43"/>
                  </a:cubicBezTo>
                  <a:cubicBezTo>
                    <a:pt x="104" y="50"/>
                    <a:pt x="107" y="58"/>
                    <a:pt x="107" y="67"/>
                  </a:cubicBezTo>
                  <a:cubicBezTo>
                    <a:pt x="108" y="70"/>
                    <a:pt x="107" y="73"/>
                    <a:pt x="107" y="76"/>
                  </a:cubicBezTo>
                  <a:cubicBezTo>
                    <a:pt x="106" y="82"/>
                    <a:pt x="103" y="87"/>
                    <a:pt x="100" y="93"/>
                  </a:cubicBezTo>
                  <a:cubicBezTo>
                    <a:pt x="99" y="93"/>
                    <a:pt x="98" y="95"/>
                    <a:pt x="98" y="96"/>
                  </a:cubicBezTo>
                </a:path>
              </a:pathLst>
            </a:custGeom>
            <a:solidFill>
              <a:schemeClr val="accent2">
                <a:lumMod val="100000"/>
              </a:schemeClr>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401" name="Google Shape;1454;p8">
              <a:extLst>
                <a:ext uri="{FF2B5EF4-FFF2-40B4-BE49-F238E27FC236}">
                  <a16:creationId xmlns:a16="http://schemas.microsoft.com/office/drawing/2014/main" id="{75E60C55-F929-4E52-BACD-2CDCC9A1147C}"/>
                </a:ext>
              </a:extLst>
            </p:cNvPr>
            <p:cNvSpPr/>
            <p:nvPr/>
          </p:nvSpPr>
          <p:spPr>
            <a:xfrm>
              <a:off x="2507186" y="2553404"/>
              <a:ext cx="100789" cy="68793"/>
            </a:xfrm>
            <a:custGeom>
              <a:avLst/>
              <a:gdLst/>
              <a:ahLst/>
              <a:cxnLst/>
              <a:rect l="l" t="t" r="r" b="b"/>
              <a:pathLst>
                <a:path w="73" h="50" extrusionOk="0">
                  <a:moveTo>
                    <a:pt x="73" y="50"/>
                  </a:moveTo>
                  <a:cubicBezTo>
                    <a:pt x="58" y="38"/>
                    <a:pt x="58" y="38"/>
                    <a:pt x="58" y="38"/>
                  </a:cubicBezTo>
                  <a:cubicBezTo>
                    <a:pt x="58" y="37"/>
                    <a:pt x="57" y="37"/>
                    <a:pt x="57" y="36"/>
                  </a:cubicBezTo>
                  <a:cubicBezTo>
                    <a:pt x="56" y="33"/>
                    <a:pt x="56" y="33"/>
                    <a:pt x="56" y="33"/>
                  </a:cubicBezTo>
                  <a:cubicBezTo>
                    <a:pt x="55" y="32"/>
                    <a:pt x="54" y="31"/>
                    <a:pt x="53" y="32"/>
                  </a:cubicBezTo>
                  <a:cubicBezTo>
                    <a:pt x="49" y="33"/>
                    <a:pt x="49" y="33"/>
                    <a:pt x="49" y="33"/>
                  </a:cubicBezTo>
                  <a:cubicBezTo>
                    <a:pt x="48" y="34"/>
                    <a:pt x="47" y="34"/>
                    <a:pt x="46" y="33"/>
                  </a:cubicBezTo>
                  <a:cubicBezTo>
                    <a:pt x="0" y="5"/>
                    <a:pt x="0" y="5"/>
                    <a:pt x="0" y="5"/>
                  </a:cubicBezTo>
                  <a:cubicBezTo>
                    <a:pt x="0" y="5"/>
                    <a:pt x="0" y="5"/>
                    <a:pt x="0" y="5"/>
                  </a:cubicBezTo>
                  <a:cubicBezTo>
                    <a:pt x="3" y="2"/>
                    <a:pt x="5" y="0"/>
                    <a:pt x="5" y="0"/>
                  </a:cubicBezTo>
                  <a:cubicBezTo>
                    <a:pt x="5" y="0"/>
                    <a:pt x="34" y="18"/>
                    <a:pt x="53" y="27"/>
                  </a:cubicBezTo>
                  <a:cubicBezTo>
                    <a:pt x="61" y="30"/>
                    <a:pt x="67" y="36"/>
                    <a:pt x="72" y="43"/>
                  </a:cubicBezTo>
                  <a:cubicBezTo>
                    <a:pt x="73" y="47"/>
                    <a:pt x="73" y="50"/>
                    <a:pt x="73" y="50"/>
                  </a:cubicBezTo>
                  <a:close/>
                </a:path>
              </a:pathLst>
            </a:custGeom>
            <a:solidFill>
              <a:srgbClr val="FFFFFF"/>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402" name="Google Shape;1455;p8">
              <a:extLst>
                <a:ext uri="{FF2B5EF4-FFF2-40B4-BE49-F238E27FC236}">
                  <a16:creationId xmlns:a16="http://schemas.microsoft.com/office/drawing/2014/main" id="{32F73579-6676-40C9-B870-D6D48880A75D}"/>
                </a:ext>
              </a:extLst>
            </p:cNvPr>
            <p:cNvSpPr/>
            <p:nvPr/>
          </p:nvSpPr>
          <p:spPr>
            <a:xfrm>
              <a:off x="2503987" y="2650992"/>
              <a:ext cx="113588" cy="30397"/>
            </a:xfrm>
            <a:custGeom>
              <a:avLst/>
              <a:gdLst/>
              <a:ahLst/>
              <a:cxnLst/>
              <a:rect l="l" t="t" r="r" b="b"/>
              <a:pathLst>
                <a:path w="82" h="22" extrusionOk="0">
                  <a:moveTo>
                    <a:pt x="0" y="0"/>
                  </a:moveTo>
                  <a:cubicBezTo>
                    <a:pt x="0" y="0"/>
                    <a:pt x="71" y="22"/>
                    <a:pt x="74" y="22"/>
                  </a:cubicBezTo>
                  <a:cubicBezTo>
                    <a:pt x="74" y="22"/>
                    <a:pt x="75" y="22"/>
                    <a:pt x="75" y="22"/>
                  </a:cubicBezTo>
                  <a:cubicBezTo>
                    <a:pt x="78" y="16"/>
                    <a:pt x="81" y="11"/>
                    <a:pt x="82" y="5"/>
                  </a:cubicBezTo>
                  <a:cubicBezTo>
                    <a:pt x="51" y="4"/>
                    <a:pt x="9" y="0"/>
                    <a:pt x="0" y="0"/>
                  </a:cubicBezTo>
                </a:path>
              </a:pathLst>
            </a:custGeom>
            <a:solidFill>
              <a:schemeClr val="accent2">
                <a:lumMod val="50000"/>
              </a:schemeClr>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403" name="Google Shape;1456;p8">
              <a:extLst>
                <a:ext uri="{FF2B5EF4-FFF2-40B4-BE49-F238E27FC236}">
                  <a16:creationId xmlns:a16="http://schemas.microsoft.com/office/drawing/2014/main" id="{9FE49044-62B2-455B-9F82-95FDD280EB52}"/>
                </a:ext>
              </a:extLst>
            </p:cNvPr>
            <p:cNvSpPr/>
            <p:nvPr/>
          </p:nvSpPr>
          <p:spPr>
            <a:xfrm>
              <a:off x="2500787" y="2524608"/>
              <a:ext cx="174384" cy="132785"/>
            </a:xfrm>
            <a:custGeom>
              <a:avLst/>
              <a:gdLst/>
              <a:ahLst/>
              <a:cxnLst/>
              <a:rect l="l" t="t" r="r" b="b"/>
              <a:pathLst>
                <a:path w="127" h="96" extrusionOk="0">
                  <a:moveTo>
                    <a:pt x="119" y="91"/>
                  </a:moveTo>
                  <a:cubicBezTo>
                    <a:pt x="116" y="94"/>
                    <a:pt x="106" y="95"/>
                    <a:pt x="92" y="96"/>
                  </a:cubicBezTo>
                  <a:cubicBezTo>
                    <a:pt x="90" y="96"/>
                    <a:pt x="87" y="96"/>
                    <a:pt x="85" y="96"/>
                  </a:cubicBezTo>
                  <a:cubicBezTo>
                    <a:pt x="54" y="95"/>
                    <a:pt x="12" y="91"/>
                    <a:pt x="3" y="91"/>
                  </a:cubicBezTo>
                  <a:cubicBezTo>
                    <a:pt x="0" y="46"/>
                    <a:pt x="0" y="46"/>
                    <a:pt x="0" y="46"/>
                  </a:cubicBezTo>
                  <a:cubicBezTo>
                    <a:pt x="7" y="48"/>
                    <a:pt x="49" y="56"/>
                    <a:pt x="75" y="60"/>
                  </a:cubicBezTo>
                  <a:cubicBezTo>
                    <a:pt x="86" y="61"/>
                    <a:pt x="94" y="62"/>
                    <a:pt x="95" y="61"/>
                  </a:cubicBezTo>
                  <a:cubicBezTo>
                    <a:pt x="100" y="56"/>
                    <a:pt x="98" y="24"/>
                    <a:pt x="98" y="0"/>
                  </a:cubicBezTo>
                  <a:cubicBezTo>
                    <a:pt x="125" y="0"/>
                    <a:pt x="125" y="0"/>
                    <a:pt x="125" y="0"/>
                  </a:cubicBezTo>
                  <a:cubicBezTo>
                    <a:pt x="125" y="0"/>
                    <a:pt x="127" y="83"/>
                    <a:pt x="119" y="91"/>
                  </a:cubicBezTo>
                  <a:close/>
                </a:path>
              </a:pathLst>
            </a:custGeom>
            <a:solidFill>
              <a:schemeClr val="accent2">
                <a:lumMod val="100000"/>
              </a:schemeClr>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404" name="Google Shape;1457;p8">
              <a:extLst>
                <a:ext uri="{FF2B5EF4-FFF2-40B4-BE49-F238E27FC236}">
                  <a16:creationId xmlns:a16="http://schemas.microsoft.com/office/drawing/2014/main" id="{16668070-0FC3-4903-B950-4EBBE8A7A7DD}"/>
                </a:ext>
              </a:extLst>
            </p:cNvPr>
            <p:cNvSpPr/>
            <p:nvPr/>
          </p:nvSpPr>
          <p:spPr>
            <a:xfrm>
              <a:off x="2588776" y="2443015"/>
              <a:ext cx="148784" cy="35196"/>
            </a:xfrm>
            <a:custGeom>
              <a:avLst/>
              <a:gdLst/>
              <a:ahLst/>
              <a:cxnLst/>
              <a:rect l="l" t="t" r="r" b="b"/>
              <a:pathLst>
                <a:path w="93" h="22" extrusionOk="0">
                  <a:moveTo>
                    <a:pt x="93" y="8"/>
                  </a:moveTo>
                  <a:lnTo>
                    <a:pt x="6" y="21"/>
                  </a:lnTo>
                  <a:lnTo>
                    <a:pt x="5" y="21"/>
                  </a:lnTo>
                  <a:lnTo>
                    <a:pt x="1" y="22"/>
                  </a:lnTo>
                  <a:lnTo>
                    <a:pt x="0" y="15"/>
                  </a:lnTo>
                  <a:lnTo>
                    <a:pt x="4" y="14"/>
                  </a:lnTo>
                  <a:lnTo>
                    <a:pt x="5" y="14"/>
                  </a:lnTo>
                  <a:lnTo>
                    <a:pt x="91" y="0"/>
                  </a:lnTo>
                  <a:lnTo>
                    <a:pt x="93" y="8"/>
                  </a:lnTo>
                  <a:close/>
                </a:path>
              </a:pathLst>
            </a:custGeom>
            <a:solidFill>
              <a:srgbClr val="888888"/>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405" name="Google Shape;1458;p8">
              <a:extLst>
                <a:ext uri="{FF2B5EF4-FFF2-40B4-BE49-F238E27FC236}">
                  <a16:creationId xmlns:a16="http://schemas.microsoft.com/office/drawing/2014/main" id="{F89816A1-1058-49B4-A5FB-6F8EFDDBD92F}"/>
                </a:ext>
              </a:extLst>
            </p:cNvPr>
            <p:cNvSpPr/>
            <p:nvPr/>
          </p:nvSpPr>
          <p:spPr>
            <a:xfrm>
              <a:off x="2649571" y="2428617"/>
              <a:ext cx="153584" cy="41596"/>
            </a:xfrm>
            <a:custGeom>
              <a:avLst/>
              <a:gdLst/>
              <a:ahLst/>
              <a:cxnLst/>
              <a:rect l="l" t="t" r="r" b="b"/>
              <a:pathLst>
                <a:path w="110" h="30" extrusionOk="0">
                  <a:moveTo>
                    <a:pt x="1" y="19"/>
                  </a:moveTo>
                  <a:cubicBezTo>
                    <a:pt x="108" y="0"/>
                    <a:pt x="108" y="0"/>
                    <a:pt x="108" y="0"/>
                  </a:cubicBezTo>
                  <a:cubicBezTo>
                    <a:pt x="111" y="15"/>
                    <a:pt x="111" y="15"/>
                    <a:pt x="111" y="15"/>
                  </a:cubicBezTo>
                  <a:cubicBezTo>
                    <a:pt x="3" y="30"/>
                    <a:pt x="3" y="30"/>
                    <a:pt x="3" y="30"/>
                  </a:cubicBezTo>
                  <a:cubicBezTo>
                    <a:pt x="2" y="30"/>
                    <a:pt x="1" y="30"/>
                    <a:pt x="1" y="29"/>
                  </a:cubicBezTo>
                  <a:cubicBezTo>
                    <a:pt x="0" y="20"/>
                    <a:pt x="0" y="20"/>
                    <a:pt x="0" y="20"/>
                  </a:cubicBezTo>
                  <a:cubicBezTo>
                    <a:pt x="0" y="20"/>
                    <a:pt x="0" y="19"/>
                    <a:pt x="1" y="19"/>
                  </a:cubicBezTo>
                  <a:close/>
                </a:path>
              </a:pathLst>
            </a:custGeom>
            <a:solidFill>
              <a:srgbClr val="555555"/>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406" name="Shape0_20210513_102449">
              <a:extLst>
                <a:ext uri="{FF2B5EF4-FFF2-40B4-BE49-F238E27FC236}">
                  <a16:creationId xmlns:a16="http://schemas.microsoft.com/office/drawing/2014/main" id="{076EB01E-DA91-45E3-B5AF-D3E442E0C55C}"/>
                </a:ext>
              </a:extLst>
            </p:cNvPr>
            <p:cNvSpPr/>
            <p:nvPr/>
          </p:nvSpPr>
          <p:spPr>
            <a:xfrm>
              <a:off x="2703964" y="2411020"/>
              <a:ext cx="166384" cy="54393"/>
            </a:xfrm>
            <a:custGeom>
              <a:avLst/>
              <a:gdLst/>
              <a:ahLst/>
              <a:cxnLst/>
              <a:rect l="l" t="t" r="r" b="b"/>
              <a:pathLst>
                <a:path w="120" h="39" extrusionOk="0">
                  <a:moveTo>
                    <a:pt x="121" y="25"/>
                  </a:moveTo>
                  <a:cubicBezTo>
                    <a:pt x="113" y="26"/>
                    <a:pt x="113" y="26"/>
                    <a:pt x="113" y="26"/>
                  </a:cubicBezTo>
                  <a:cubicBezTo>
                    <a:pt x="111" y="26"/>
                    <a:pt x="111" y="26"/>
                    <a:pt x="111" y="26"/>
                  </a:cubicBezTo>
                  <a:cubicBezTo>
                    <a:pt x="4" y="39"/>
                    <a:pt x="4" y="39"/>
                    <a:pt x="4" y="39"/>
                  </a:cubicBezTo>
                  <a:cubicBezTo>
                    <a:pt x="3" y="39"/>
                    <a:pt x="2" y="39"/>
                    <a:pt x="2" y="38"/>
                  </a:cubicBezTo>
                  <a:cubicBezTo>
                    <a:pt x="0" y="25"/>
                    <a:pt x="0" y="25"/>
                    <a:pt x="0" y="25"/>
                  </a:cubicBezTo>
                  <a:cubicBezTo>
                    <a:pt x="0" y="24"/>
                    <a:pt x="0" y="23"/>
                    <a:pt x="1" y="23"/>
                  </a:cubicBezTo>
                  <a:cubicBezTo>
                    <a:pt x="107" y="2"/>
                    <a:pt x="107" y="2"/>
                    <a:pt x="107" y="2"/>
                  </a:cubicBezTo>
                  <a:cubicBezTo>
                    <a:pt x="109" y="2"/>
                    <a:pt x="109" y="2"/>
                    <a:pt x="109" y="2"/>
                  </a:cubicBezTo>
                  <a:cubicBezTo>
                    <a:pt x="117" y="0"/>
                    <a:pt x="117" y="0"/>
                    <a:pt x="117" y="0"/>
                  </a:cubicBezTo>
                  <a:lnTo>
                    <a:pt x="121" y="25"/>
                  </a:lnTo>
                  <a:close/>
                </a:path>
              </a:pathLst>
            </a:custGeom>
            <a:solidFill>
              <a:srgbClr val="888888"/>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407" name="Google Shape;1460;p8">
              <a:extLst>
                <a:ext uri="{FF2B5EF4-FFF2-40B4-BE49-F238E27FC236}">
                  <a16:creationId xmlns:a16="http://schemas.microsoft.com/office/drawing/2014/main" id="{A4284741-0B9B-47B8-A8ED-022C55801414}"/>
                </a:ext>
              </a:extLst>
            </p:cNvPr>
            <p:cNvSpPr/>
            <p:nvPr/>
          </p:nvSpPr>
          <p:spPr>
            <a:xfrm>
              <a:off x="2854349" y="2411019"/>
              <a:ext cx="15999" cy="35196"/>
            </a:xfrm>
            <a:custGeom>
              <a:avLst/>
              <a:gdLst/>
              <a:ahLst/>
              <a:cxnLst/>
              <a:rect l="l" t="t" r="r" b="b"/>
              <a:pathLst>
                <a:path w="10" h="22" extrusionOk="0">
                  <a:moveTo>
                    <a:pt x="10" y="22"/>
                  </a:moveTo>
                  <a:lnTo>
                    <a:pt x="3" y="22"/>
                  </a:lnTo>
                  <a:lnTo>
                    <a:pt x="0" y="2"/>
                  </a:lnTo>
                  <a:lnTo>
                    <a:pt x="7" y="0"/>
                  </a:lnTo>
                  <a:lnTo>
                    <a:pt x="10" y="22"/>
                  </a:lnTo>
                  <a:close/>
                </a:path>
              </a:pathLst>
            </a:custGeom>
            <a:solidFill>
              <a:srgbClr val="555555"/>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408" name="Google Shape;1461;p8">
              <a:extLst>
                <a:ext uri="{FF2B5EF4-FFF2-40B4-BE49-F238E27FC236}">
                  <a16:creationId xmlns:a16="http://schemas.microsoft.com/office/drawing/2014/main" id="{5379D9CF-F646-44D2-A461-206CDE23450A}"/>
                </a:ext>
              </a:extLst>
            </p:cNvPr>
            <p:cNvSpPr/>
            <p:nvPr/>
          </p:nvSpPr>
          <p:spPr>
            <a:xfrm>
              <a:off x="2851147" y="2414218"/>
              <a:ext cx="8000" cy="31996"/>
            </a:xfrm>
            <a:custGeom>
              <a:avLst/>
              <a:gdLst/>
              <a:ahLst/>
              <a:cxnLst/>
              <a:rect l="l" t="t" r="r" b="b"/>
              <a:pathLst>
                <a:path w="5" h="20" extrusionOk="0">
                  <a:moveTo>
                    <a:pt x="5" y="20"/>
                  </a:moveTo>
                  <a:lnTo>
                    <a:pt x="3" y="20"/>
                  </a:lnTo>
                  <a:lnTo>
                    <a:pt x="0" y="0"/>
                  </a:lnTo>
                  <a:lnTo>
                    <a:pt x="2" y="0"/>
                  </a:lnTo>
                  <a:lnTo>
                    <a:pt x="5" y="20"/>
                  </a:lnTo>
                  <a:close/>
                </a:path>
              </a:pathLst>
            </a:custGeom>
            <a:solidFill>
              <a:srgbClr val="E5E8EC"/>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409" name="Google Shape;1462;p8">
              <a:extLst>
                <a:ext uri="{FF2B5EF4-FFF2-40B4-BE49-F238E27FC236}">
                  <a16:creationId xmlns:a16="http://schemas.microsoft.com/office/drawing/2014/main" id="{537BCB67-6531-4BEF-8929-55481A11AF28}"/>
                </a:ext>
              </a:extLst>
            </p:cNvPr>
            <p:cNvSpPr/>
            <p:nvPr/>
          </p:nvSpPr>
          <p:spPr>
            <a:xfrm>
              <a:off x="2588776" y="2465413"/>
              <a:ext cx="8000" cy="12799"/>
            </a:xfrm>
            <a:custGeom>
              <a:avLst/>
              <a:gdLst/>
              <a:ahLst/>
              <a:cxnLst/>
              <a:rect l="l" t="t" r="r" b="b"/>
              <a:pathLst>
                <a:path w="5" h="8" extrusionOk="0">
                  <a:moveTo>
                    <a:pt x="5" y="7"/>
                  </a:moveTo>
                  <a:lnTo>
                    <a:pt x="1" y="8"/>
                  </a:lnTo>
                  <a:lnTo>
                    <a:pt x="0" y="1"/>
                  </a:lnTo>
                  <a:lnTo>
                    <a:pt x="4" y="0"/>
                  </a:lnTo>
                  <a:lnTo>
                    <a:pt x="5" y="7"/>
                  </a:lnTo>
                  <a:close/>
                </a:path>
              </a:pathLst>
            </a:custGeom>
            <a:solidFill>
              <a:srgbClr val="555555"/>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410" name="Google Shape;1463;p8">
              <a:extLst>
                <a:ext uri="{FF2B5EF4-FFF2-40B4-BE49-F238E27FC236}">
                  <a16:creationId xmlns:a16="http://schemas.microsoft.com/office/drawing/2014/main" id="{A17B74B1-25CC-4334-AB34-CD998561639A}"/>
                </a:ext>
              </a:extLst>
            </p:cNvPr>
            <p:cNvSpPr/>
            <p:nvPr/>
          </p:nvSpPr>
          <p:spPr>
            <a:xfrm>
              <a:off x="2595177" y="2465413"/>
              <a:ext cx="3199" cy="11199"/>
            </a:xfrm>
            <a:custGeom>
              <a:avLst/>
              <a:gdLst/>
              <a:ahLst/>
              <a:cxnLst/>
              <a:rect l="l" t="t" r="r" b="b"/>
              <a:pathLst>
                <a:path w="2" h="7" extrusionOk="0">
                  <a:moveTo>
                    <a:pt x="2" y="7"/>
                  </a:moveTo>
                  <a:lnTo>
                    <a:pt x="1" y="7"/>
                  </a:lnTo>
                  <a:lnTo>
                    <a:pt x="0" y="0"/>
                  </a:lnTo>
                  <a:lnTo>
                    <a:pt x="1" y="0"/>
                  </a:lnTo>
                  <a:lnTo>
                    <a:pt x="2" y="7"/>
                  </a:lnTo>
                  <a:close/>
                </a:path>
              </a:pathLst>
            </a:custGeom>
            <a:solidFill>
              <a:srgbClr val="F2F2F2"/>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411" name="Google Shape;1464;p8">
              <a:extLst>
                <a:ext uri="{FF2B5EF4-FFF2-40B4-BE49-F238E27FC236}">
                  <a16:creationId xmlns:a16="http://schemas.microsoft.com/office/drawing/2014/main" id="{88BA3A3F-3021-4481-8CEA-E396D3544FD3}"/>
                </a:ext>
              </a:extLst>
            </p:cNvPr>
            <p:cNvSpPr/>
            <p:nvPr/>
          </p:nvSpPr>
          <p:spPr>
            <a:xfrm>
              <a:off x="2708765" y="2444615"/>
              <a:ext cx="46396" cy="92789"/>
            </a:xfrm>
            <a:custGeom>
              <a:avLst/>
              <a:gdLst/>
              <a:ahLst/>
              <a:cxnLst/>
              <a:rect l="l" t="t" r="r" b="b"/>
              <a:pathLst>
                <a:path w="33" h="68" extrusionOk="0">
                  <a:moveTo>
                    <a:pt x="0" y="60"/>
                  </a:moveTo>
                  <a:cubicBezTo>
                    <a:pt x="0" y="60"/>
                    <a:pt x="6" y="40"/>
                    <a:pt x="5" y="34"/>
                  </a:cubicBezTo>
                  <a:cubicBezTo>
                    <a:pt x="4" y="28"/>
                    <a:pt x="2" y="12"/>
                    <a:pt x="2" y="10"/>
                  </a:cubicBezTo>
                  <a:cubicBezTo>
                    <a:pt x="3" y="7"/>
                    <a:pt x="1" y="2"/>
                    <a:pt x="8" y="1"/>
                  </a:cubicBezTo>
                  <a:cubicBezTo>
                    <a:pt x="14" y="0"/>
                    <a:pt x="13" y="5"/>
                    <a:pt x="11" y="7"/>
                  </a:cubicBezTo>
                  <a:cubicBezTo>
                    <a:pt x="9" y="10"/>
                    <a:pt x="11" y="14"/>
                    <a:pt x="12" y="14"/>
                  </a:cubicBezTo>
                  <a:cubicBezTo>
                    <a:pt x="14" y="13"/>
                    <a:pt x="27" y="11"/>
                    <a:pt x="30" y="11"/>
                  </a:cubicBezTo>
                  <a:cubicBezTo>
                    <a:pt x="33" y="12"/>
                    <a:pt x="30" y="29"/>
                    <a:pt x="29" y="32"/>
                  </a:cubicBezTo>
                  <a:cubicBezTo>
                    <a:pt x="28" y="35"/>
                    <a:pt x="22" y="45"/>
                    <a:pt x="21" y="49"/>
                  </a:cubicBezTo>
                  <a:cubicBezTo>
                    <a:pt x="20" y="53"/>
                    <a:pt x="17" y="68"/>
                    <a:pt x="17" y="68"/>
                  </a:cubicBezTo>
                  <a:lnTo>
                    <a:pt x="0" y="60"/>
                  </a:lnTo>
                  <a:close/>
                </a:path>
              </a:pathLst>
            </a:custGeom>
            <a:solidFill>
              <a:srgbClr val="F7B583"/>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412" name="Google Shape;1465;p8">
              <a:extLst>
                <a:ext uri="{FF2B5EF4-FFF2-40B4-BE49-F238E27FC236}">
                  <a16:creationId xmlns:a16="http://schemas.microsoft.com/office/drawing/2014/main" id="{D52EC78D-B31E-476B-BF8D-D4DB5F2A9015}"/>
                </a:ext>
              </a:extLst>
            </p:cNvPr>
            <p:cNvSpPr/>
            <p:nvPr/>
          </p:nvSpPr>
          <p:spPr>
            <a:xfrm>
              <a:off x="2615975" y="2447814"/>
              <a:ext cx="47995" cy="76791"/>
            </a:xfrm>
            <a:custGeom>
              <a:avLst/>
              <a:gdLst/>
              <a:ahLst/>
              <a:cxnLst/>
              <a:rect l="l" t="t" r="r" b="b"/>
              <a:pathLst>
                <a:path w="35" h="56" extrusionOk="0">
                  <a:moveTo>
                    <a:pt x="14" y="56"/>
                  </a:moveTo>
                  <a:cubicBezTo>
                    <a:pt x="14" y="56"/>
                    <a:pt x="15" y="45"/>
                    <a:pt x="9" y="36"/>
                  </a:cubicBezTo>
                  <a:cubicBezTo>
                    <a:pt x="3" y="28"/>
                    <a:pt x="0" y="12"/>
                    <a:pt x="2" y="8"/>
                  </a:cubicBezTo>
                  <a:cubicBezTo>
                    <a:pt x="5" y="1"/>
                    <a:pt x="17" y="0"/>
                    <a:pt x="29" y="3"/>
                  </a:cubicBezTo>
                  <a:cubicBezTo>
                    <a:pt x="30" y="3"/>
                    <a:pt x="30" y="5"/>
                    <a:pt x="30" y="6"/>
                  </a:cubicBezTo>
                  <a:cubicBezTo>
                    <a:pt x="30" y="7"/>
                    <a:pt x="30" y="12"/>
                    <a:pt x="31" y="16"/>
                  </a:cubicBezTo>
                  <a:cubicBezTo>
                    <a:pt x="33" y="24"/>
                    <a:pt x="35" y="25"/>
                    <a:pt x="35" y="29"/>
                  </a:cubicBezTo>
                  <a:cubicBezTo>
                    <a:pt x="35" y="33"/>
                    <a:pt x="34" y="38"/>
                    <a:pt x="33" y="41"/>
                  </a:cubicBezTo>
                  <a:cubicBezTo>
                    <a:pt x="33" y="43"/>
                    <a:pt x="33" y="56"/>
                    <a:pt x="33" y="56"/>
                  </a:cubicBezTo>
                  <a:lnTo>
                    <a:pt x="14" y="56"/>
                  </a:lnTo>
                  <a:close/>
                </a:path>
              </a:pathLst>
            </a:custGeom>
            <a:solidFill>
              <a:srgbClr val="F7B583"/>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413" name="Google Shape;1466;p8">
              <a:extLst>
                <a:ext uri="{FF2B5EF4-FFF2-40B4-BE49-F238E27FC236}">
                  <a16:creationId xmlns:a16="http://schemas.microsoft.com/office/drawing/2014/main" id="{F366D935-76E6-4800-B66D-860B1FB7375E}"/>
                </a:ext>
              </a:extLst>
            </p:cNvPr>
            <p:cNvSpPr/>
            <p:nvPr/>
          </p:nvSpPr>
          <p:spPr>
            <a:xfrm>
              <a:off x="2710364" y="2427016"/>
              <a:ext cx="43195" cy="19197"/>
            </a:xfrm>
            <a:custGeom>
              <a:avLst/>
              <a:gdLst/>
              <a:ahLst/>
              <a:cxnLst/>
              <a:rect l="l" t="t" r="r" b="b"/>
              <a:pathLst>
                <a:path w="31" h="14" extrusionOk="0">
                  <a:moveTo>
                    <a:pt x="2" y="7"/>
                  </a:moveTo>
                  <a:cubicBezTo>
                    <a:pt x="1" y="8"/>
                    <a:pt x="0" y="10"/>
                    <a:pt x="1" y="11"/>
                  </a:cubicBezTo>
                  <a:cubicBezTo>
                    <a:pt x="2" y="12"/>
                    <a:pt x="4" y="14"/>
                    <a:pt x="8" y="13"/>
                  </a:cubicBezTo>
                  <a:cubicBezTo>
                    <a:pt x="17" y="11"/>
                    <a:pt x="27" y="7"/>
                    <a:pt x="29" y="7"/>
                  </a:cubicBezTo>
                  <a:cubicBezTo>
                    <a:pt x="31" y="6"/>
                    <a:pt x="30" y="0"/>
                    <a:pt x="26" y="0"/>
                  </a:cubicBezTo>
                  <a:cubicBezTo>
                    <a:pt x="22" y="0"/>
                    <a:pt x="7" y="4"/>
                    <a:pt x="2" y="7"/>
                  </a:cubicBezTo>
                  <a:close/>
                </a:path>
              </a:pathLst>
            </a:custGeom>
            <a:solidFill>
              <a:srgbClr val="F7B583"/>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414" name="Google Shape;1467;p8">
              <a:extLst>
                <a:ext uri="{FF2B5EF4-FFF2-40B4-BE49-F238E27FC236}">
                  <a16:creationId xmlns:a16="http://schemas.microsoft.com/office/drawing/2014/main" id="{6B94E20F-358B-46B0-AADA-061516CBDC19}"/>
                </a:ext>
              </a:extLst>
            </p:cNvPr>
            <p:cNvSpPr/>
            <p:nvPr/>
          </p:nvSpPr>
          <p:spPr>
            <a:xfrm>
              <a:off x="2415996" y="2826972"/>
              <a:ext cx="207977" cy="303965"/>
            </a:xfrm>
            <a:custGeom>
              <a:avLst/>
              <a:gdLst/>
              <a:ahLst/>
              <a:cxnLst/>
              <a:rect l="l" t="t" r="r" b="b"/>
              <a:pathLst>
                <a:path w="151" h="221" extrusionOk="0">
                  <a:moveTo>
                    <a:pt x="39" y="0"/>
                  </a:moveTo>
                  <a:cubicBezTo>
                    <a:pt x="39" y="0"/>
                    <a:pt x="18" y="33"/>
                    <a:pt x="18" y="87"/>
                  </a:cubicBezTo>
                  <a:cubicBezTo>
                    <a:pt x="18" y="140"/>
                    <a:pt x="12" y="168"/>
                    <a:pt x="0" y="206"/>
                  </a:cubicBezTo>
                  <a:cubicBezTo>
                    <a:pt x="0" y="206"/>
                    <a:pt x="65" y="221"/>
                    <a:pt x="119" y="210"/>
                  </a:cubicBezTo>
                  <a:cubicBezTo>
                    <a:pt x="119" y="210"/>
                    <a:pt x="140" y="110"/>
                    <a:pt x="144" y="88"/>
                  </a:cubicBezTo>
                  <a:cubicBezTo>
                    <a:pt x="151" y="52"/>
                    <a:pt x="146" y="20"/>
                    <a:pt x="144" y="0"/>
                  </a:cubicBezTo>
                  <a:lnTo>
                    <a:pt x="39" y="0"/>
                  </a:lnTo>
                  <a:close/>
                </a:path>
              </a:pathLst>
            </a:custGeom>
            <a:solidFill>
              <a:schemeClr val="accent2">
                <a:lumMod val="50000"/>
              </a:schemeClr>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sp>
          <p:nvSpPr>
            <p:cNvPr id="416" name="Google Shape;1504;p8">
              <a:extLst>
                <a:ext uri="{FF2B5EF4-FFF2-40B4-BE49-F238E27FC236}">
                  <a16:creationId xmlns:a16="http://schemas.microsoft.com/office/drawing/2014/main" id="{87366154-DD38-4F87-9A32-E1E3D0F09FAB}"/>
                </a:ext>
              </a:extLst>
            </p:cNvPr>
            <p:cNvSpPr/>
            <p:nvPr/>
          </p:nvSpPr>
          <p:spPr>
            <a:xfrm>
              <a:off x="3" y="3826951"/>
              <a:ext cx="1482631" cy="1606184"/>
            </a:xfrm>
            <a:custGeom>
              <a:avLst/>
              <a:gdLst/>
              <a:ahLst/>
              <a:cxnLst/>
              <a:rect l="l" t="t" r="r" b="b"/>
              <a:pathLst>
                <a:path w="996" h="1079" extrusionOk="0">
                  <a:moveTo>
                    <a:pt x="996" y="125"/>
                  </a:moveTo>
                  <a:lnTo>
                    <a:pt x="996" y="205"/>
                  </a:lnTo>
                  <a:lnTo>
                    <a:pt x="990" y="199"/>
                  </a:lnTo>
                  <a:lnTo>
                    <a:pt x="966" y="176"/>
                  </a:lnTo>
                  <a:lnTo>
                    <a:pt x="956" y="165"/>
                  </a:lnTo>
                  <a:lnTo>
                    <a:pt x="935" y="144"/>
                  </a:lnTo>
                  <a:lnTo>
                    <a:pt x="0" y="1079"/>
                  </a:lnTo>
                  <a:lnTo>
                    <a:pt x="0" y="912"/>
                  </a:lnTo>
                  <a:lnTo>
                    <a:pt x="839" y="72"/>
                  </a:lnTo>
                  <a:lnTo>
                    <a:pt x="851" y="60"/>
                  </a:lnTo>
                  <a:lnTo>
                    <a:pt x="810" y="20"/>
                  </a:lnTo>
                  <a:lnTo>
                    <a:pt x="791" y="0"/>
                  </a:lnTo>
                  <a:lnTo>
                    <a:pt x="995" y="0"/>
                  </a:lnTo>
                  <a:lnTo>
                    <a:pt x="996" y="125"/>
                  </a:lnTo>
                </a:path>
              </a:pathLst>
            </a:custGeom>
            <a:solidFill>
              <a:schemeClr val="accent1">
                <a:lumMod val="100000"/>
              </a:schemeClr>
            </a:solidFill>
            <a:ln>
              <a:noFill/>
            </a:ln>
            <a:effectLst/>
          </p:spPr>
          <p:txBody>
            <a:bodyPr spcFirstLastPara="1" wrap="square" lIns="91425" tIns="45700" rIns="91425"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sz="2400">
                <a:solidFill>
                  <a:schemeClr val="dk1"/>
                </a:solidFill>
                <a:ea typeface="Helvetica"/>
                <a:cs typeface="Helvetica"/>
                <a:sym typeface="Helvetica"/>
              </a:endParaRPr>
            </a:p>
          </p:txBody>
        </p:sp>
      </p:grpSp>
      <p:sp>
        <p:nvSpPr>
          <p:cNvPr id="1526" name="Google Shape;1526;p8"/>
          <p:cNvSpPr/>
          <p:nvPr>
            <p:custDataLst>
              <p:tags r:id="rId4"/>
            </p:custDataLst>
          </p:nvPr>
        </p:nvSpPr>
        <p:spPr>
          <a:xfrm>
            <a:off x="5336986" y="2076910"/>
            <a:ext cx="1904850" cy="2177463"/>
          </a:xfrm>
          <a:prstGeom prst="rect">
            <a:avLst/>
          </a:prstGeom>
          <a:solidFill>
            <a:schemeClr val="accent5">
              <a:lumMod val="100000"/>
            </a:schemeClr>
          </a:solidFill>
          <a:ln>
            <a:noFill/>
          </a:ln>
        </p:spPr>
        <p:txBody>
          <a:bodyPr spcFirstLastPara="1" wrap="square" lIns="68569" tIns="34275" rIns="68569" bIns="34275"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sz="1800">
              <a:solidFill>
                <a:srgbClr val="FFFFFF"/>
              </a:solidFill>
              <a:ea typeface="Helvetica"/>
              <a:cs typeface="Helvetica"/>
              <a:sym typeface="Helvetica"/>
            </a:endParaRPr>
          </a:p>
        </p:txBody>
      </p:sp>
      <p:sp>
        <p:nvSpPr>
          <p:cNvPr id="1537" name="Google Shape;1537;p8"/>
          <p:cNvSpPr/>
          <p:nvPr>
            <p:custDataLst>
              <p:tags r:id="rId5"/>
            </p:custDataLst>
          </p:nvPr>
        </p:nvSpPr>
        <p:spPr>
          <a:xfrm>
            <a:off x="7239151" y="2076910"/>
            <a:ext cx="1904850" cy="2177463"/>
          </a:xfrm>
          <a:prstGeom prst="rect">
            <a:avLst/>
          </a:prstGeom>
          <a:solidFill>
            <a:schemeClr val="accent1">
              <a:lumMod val="75000"/>
            </a:schemeClr>
          </a:solidFill>
          <a:ln>
            <a:noFill/>
          </a:ln>
        </p:spPr>
        <p:txBody>
          <a:bodyPr spcFirstLastPara="1" wrap="square" lIns="68569" tIns="34275" rIns="68569" bIns="34275"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800">
              <a:solidFill>
                <a:srgbClr val="FFFFFF"/>
              </a:solidFill>
              <a:ea typeface="Helvetica"/>
              <a:cs typeface="Helvetica"/>
              <a:sym typeface="Helvetica"/>
            </a:endParaRPr>
          </a:p>
        </p:txBody>
      </p:sp>
      <p:sp>
        <p:nvSpPr>
          <p:cNvPr id="1543" name="Google Shape;1543;p8"/>
          <p:cNvSpPr/>
          <p:nvPr>
            <p:custDataLst>
              <p:tags r:id="rId6"/>
            </p:custDataLst>
          </p:nvPr>
        </p:nvSpPr>
        <p:spPr>
          <a:xfrm>
            <a:off x="3524494" y="2"/>
            <a:ext cx="1812494" cy="2076906"/>
          </a:xfrm>
          <a:prstGeom prst="rect">
            <a:avLst/>
          </a:prstGeom>
          <a:solidFill>
            <a:schemeClr val="accent1">
              <a:lumMod val="100000"/>
            </a:schemeClr>
          </a:solidFill>
          <a:ln>
            <a:noFill/>
          </a:ln>
        </p:spPr>
        <p:txBody>
          <a:bodyPr spcFirstLastPara="1" wrap="square" lIns="68569" tIns="34275" rIns="68569" bIns="34275"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sz="1800">
              <a:solidFill>
                <a:srgbClr val="FFFFFF"/>
              </a:solidFill>
              <a:ea typeface="Helvetica"/>
              <a:cs typeface="Helvetica"/>
              <a:sym typeface="Helvetica"/>
            </a:endParaRPr>
          </a:p>
        </p:txBody>
      </p:sp>
      <p:sp>
        <p:nvSpPr>
          <p:cNvPr id="1544" name="Google Shape;1544;p8"/>
          <p:cNvSpPr/>
          <p:nvPr>
            <p:custDataLst>
              <p:tags r:id="rId7"/>
            </p:custDataLst>
          </p:nvPr>
        </p:nvSpPr>
        <p:spPr>
          <a:xfrm>
            <a:off x="5336986" y="2"/>
            <a:ext cx="1904850" cy="2076906"/>
          </a:xfrm>
          <a:prstGeom prst="rect">
            <a:avLst/>
          </a:prstGeom>
          <a:solidFill>
            <a:schemeClr val="accent2">
              <a:lumMod val="100000"/>
            </a:schemeClr>
          </a:solidFill>
          <a:ln>
            <a:noFill/>
          </a:ln>
        </p:spPr>
        <p:txBody>
          <a:bodyPr spcFirstLastPara="1" wrap="square" lIns="68569" tIns="34275" rIns="68569" bIns="34275"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sz="1800">
              <a:solidFill>
                <a:srgbClr val="FFFFFF"/>
              </a:solidFill>
              <a:ea typeface="Helvetica"/>
              <a:cs typeface="Helvetica"/>
              <a:sym typeface="Helvetica"/>
            </a:endParaRPr>
          </a:p>
        </p:txBody>
      </p:sp>
      <p:sp>
        <p:nvSpPr>
          <p:cNvPr id="1549" name="Google Shape;1549;p8"/>
          <p:cNvSpPr/>
          <p:nvPr>
            <p:custDataLst>
              <p:tags r:id="rId8"/>
            </p:custDataLst>
          </p:nvPr>
        </p:nvSpPr>
        <p:spPr>
          <a:xfrm>
            <a:off x="7239151" y="2"/>
            <a:ext cx="1904850" cy="2076906"/>
          </a:xfrm>
          <a:prstGeom prst="rect">
            <a:avLst/>
          </a:prstGeom>
          <a:solidFill>
            <a:schemeClr val="accent3">
              <a:lumMod val="100000"/>
            </a:schemeClr>
          </a:solidFill>
          <a:ln>
            <a:noFill/>
          </a:ln>
        </p:spPr>
        <p:txBody>
          <a:bodyPr spcFirstLastPara="1" wrap="square" lIns="68569" tIns="34275" rIns="68569" bIns="34275"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sz="1800">
              <a:solidFill>
                <a:srgbClr val="FFFFFF"/>
              </a:solidFill>
              <a:ea typeface="Helvetica"/>
              <a:cs typeface="Helvetica"/>
              <a:sym typeface="Helvetica"/>
            </a:endParaRPr>
          </a:p>
        </p:txBody>
      </p:sp>
      <p:sp>
        <p:nvSpPr>
          <p:cNvPr id="1525" name="Google Shape;1525;p8"/>
          <p:cNvSpPr/>
          <p:nvPr>
            <p:custDataLst>
              <p:tags r:id="rId9"/>
            </p:custDataLst>
          </p:nvPr>
        </p:nvSpPr>
        <p:spPr>
          <a:xfrm>
            <a:off x="3524494" y="2076910"/>
            <a:ext cx="1812494" cy="2177463"/>
          </a:xfrm>
          <a:prstGeom prst="rect">
            <a:avLst/>
          </a:prstGeom>
          <a:solidFill>
            <a:schemeClr val="accent4">
              <a:lumMod val="100000"/>
            </a:schemeClr>
          </a:solidFill>
          <a:ln>
            <a:noFill/>
          </a:ln>
        </p:spPr>
        <p:txBody>
          <a:bodyPr spcFirstLastPara="1" wrap="square" lIns="68569" tIns="34275" rIns="68569" bIns="34275"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sz="1800">
              <a:solidFill>
                <a:srgbClr val="FFFFFF"/>
              </a:solidFill>
              <a:ea typeface="Helvetica"/>
              <a:cs typeface="Helvetica"/>
              <a:sym typeface="Helvetica"/>
            </a:endParaRPr>
          </a:p>
        </p:txBody>
      </p:sp>
      <p:sp>
        <p:nvSpPr>
          <p:cNvPr id="1524" name="Google Shape;1524;p8"/>
          <p:cNvSpPr txBox="1">
            <a:spLocks noGrp="1"/>
          </p:cNvSpPr>
          <p:nvPr>
            <p:ph type="title"/>
            <p:custDataLst>
              <p:tags r:id="rId10"/>
            </p:custDataLst>
          </p:nvPr>
        </p:nvSpPr>
        <p:spPr>
          <a:xfrm>
            <a:off x="197761" y="1093829"/>
            <a:ext cx="3295248" cy="384048"/>
          </a:xfrm>
        </p:spPr>
        <p:txBody>
          <a:bodyPr>
            <a:normAutofit fontScale="9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3400">
                <a:solidFill>
                  <a:srgbClr val="00B050"/>
                </a:solidFill>
                <a:latin typeface="Franklin Gothic Medium"/>
              </a:rPr>
              <a:t>Importance of Employer Branding</a:t>
            </a:r>
            <a:endParaRPr lang="en-US" sz="3400" b="0">
              <a:latin typeface="Franklin Gothic Medium"/>
            </a:endParaRPr>
          </a:p>
        </p:txBody>
      </p:sp>
      <p:sp>
        <p:nvSpPr>
          <p:cNvPr id="1545" name="Shape2_20220426_200359"/>
          <p:cNvSpPr/>
          <p:nvPr>
            <p:custDataLst>
              <p:tags r:id="rId11"/>
            </p:custDataLst>
          </p:nvPr>
        </p:nvSpPr>
        <p:spPr>
          <a:xfrm>
            <a:off x="3696281" y="174921"/>
            <a:ext cx="1425793" cy="1146981"/>
          </a:xfrm>
          <a:prstGeom prst="rect">
            <a:avLst/>
          </a:prstGeom>
          <a:noFill/>
          <a:ln>
            <a:noFill/>
          </a:ln>
        </p:spPr>
        <p:txBody>
          <a:bodyPr spcFirstLastPara="1" wrap="square" lIns="0" tIns="0" rIns="0" bIns="0" anchor="t"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85750" indent="-285750">
              <a:lnSpc>
                <a:spcPct val="90000"/>
              </a:lnSpc>
              <a:spcBef>
                <a:spcPts val="750"/>
              </a:spcBef>
              <a:buFont typeface="Arial"/>
              <a:buChar char="•"/>
            </a:pPr>
            <a:r>
              <a:rPr lang="en-US" sz="1000" b="1">
                <a:solidFill>
                  <a:srgbClr val="000000"/>
                </a:solidFill>
                <a:latin typeface="Franklin Gothic Book"/>
                <a:cs typeface="Helvetica"/>
              </a:rPr>
              <a:t>Cultivating employee loyalty</a:t>
            </a:r>
            <a:endParaRPr lang="en-US" sz="1000">
              <a:solidFill>
                <a:srgbClr val="000000"/>
              </a:solidFill>
              <a:latin typeface="Franklin Gothic Book"/>
              <a:cs typeface="Helvetica"/>
            </a:endParaRPr>
          </a:p>
          <a:p>
            <a:pPr marL="628650" lvl="1" indent="-285750">
              <a:lnSpc>
                <a:spcPct val="90000"/>
              </a:lnSpc>
              <a:spcBef>
                <a:spcPts val="375"/>
              </a:spcBef>
              <a:buFont typeface="Courier New,monospace"/>
              <a:buChar char="o"/>
            </a:pPr>
            <a:r>
              <a:rPr lang="en-US" sz="800">
                <a:solidFill>
                  <a:srgbClr val="000000"/>
                </a:solidFill>
                <a:latin typeface="Franklin Gothic Book"/>
                <a:cs typeface="Helvetica"/>
              </a:rPr>
              <a:t>Fosters sense of belonging and commitment</a:t>
            </a:r>
          </a:p>
          <a:p>
            <a:pPr marL="628650" lvl="1" indent="-285750">
              <a:lnSpc>
                <a:spcPct val="90000"/>
              </a:lnSpc>
              <a:spcBef>
                <a:spcPts val="375"/>
              </a:spcBef>
              <a:buFont typeface="Courier New,monospace"/>
              <a:buChar char="o"/>
            </a:pPr>
            <a:r>
              <a:rPr lang="en-US" sz="800">
                <a:solidFill>
                  <a:srgbClr val="000000"/>
                </a:solidFill>
                <a:latin typeface="Franklin Gothic Book"/>
                <a:cs typeface="Helvetica"/>
              </a:rPr>
              <a:t>Reduces turnover and associated costs</a:t>
            </a:r>
            <a:endParaRPr lang="en-US"/>
          </a:p>
        </p:txBody>
      </p:sp>
      <p:sp>
        <p:nvSpPr>
          <p:cNvPr id="1546" name="Shape3_20220426_200359"/>
          <p:cNvSpPr/>
          <p:nvPr>
            <p:custDataLst>
              <p:tags r:id="rId12"/>
            </p:custDataLst>
          </p:nvPr>
        </p:nvSpPr>
        <p:spPr>
          <a:xfrm>
            <a:off x="5525406" y="174920"/>
            <a:ext cx="1355488" cy="1728678"/>
          </a:xfrm>
          <a:prstGeom prst="rect">
            <a:avLst/>
          </a:prstGeom>
          <a:noFill/>
          <a:ln>
            <a:noFill/>
          </a:ln>
        </p:spPr>
        <p:txBody>
          <a:bodyPr spcFirstLastPara="1" wrap="square" lIns="0" tIns="0" rIns="0" bIns="0" anchor="t"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85750" indent="-285750">
              <a:lnSpc>
                <a:spcPct val="90000"/>
              </a:lnSpc>
              <a:spcBef>
                <a:spcPts val="750"/>
              </a:spcBef>
              <a:buFont typeface="Arial"/>
              <a:buChar char="•"/>
            </a:pPr>
            <a:r>
              <a:rPr lang="en-US" sz="1000" b="1">
                <a:solidFill>
                  <a:srgbClr val="000000"/>
                </a:solidFill>
                <a:latin typeface="Franklin Gothic Book"/>
                <a:cs typeface="Helvetica"/>
              </a:rPr>
              <a:t>Attracting and retaining high-quality talent</a:t>
            </a:r>
            <a:endParaRPr lang="en-US" sz="1000">
              <a:solidFill>
                <a:srgbClr val="000000"/>
              </a:solidFill>
              <a:latin typeface="Franklin Gothic Book"/>
              <a:cs typeface="Helvetica"/>
            </a:endParaRPr>
          </a:p>
          <a:p>
            <a:pPr marL="628650" lvl="1" indent="-285750">
              <a:lnSpc>
                <a:spcPct val="90000"/>
              </a:lnSpc>
              <a:spcBef>
                <a:spcPts val="375"/>
              </a:spcBef>
              <a:buFont typeface="Courier New,monospace"/>
              <a:buChar char="o"/>
            </a:pPr>
            <a:r>
              <a:rPr lang="en-US" sz="800">
                <a:solidFill>
                  <a:srgbClr val="000000"/>
                </a:solidFill>
                <a:latin typeface="Franklin Gothic Book"/>
                <a:cs typeface="Helvetica"/>
              </a:rPr>
              <a:t>Highlights unique value proposition (growth, impactful work, work-life balance)</a:t>
            </a:r>
          </a:p>
          <a:p>
            <a:pPr marL="628650" lvl="1" indent="-285750">
              <a:lnSpc>
                <a:spcPct val="90000"/>
              </a:lnSpc>
              <a:spcBef>
                <a:spcPts val="375"/>
              </a:spcBef>
              <a:buFont typeface="Courier New,monospace"/>
              <a:buChar char="o"/>
            </a:pPr>
            <a:r>
              <a:rPr lang="en-US" sz="800">
                <a:solidFill>
                  <a:srgbClr val="000000"/>
                </a:solidFill>
                <a:latin typeface="Franklin Gothic Book"/>
                <a:cs typeface="Helvetica"/>
              </a:rPr>
              <a:t>Ensures future potential within the organization</a:t>
            </a:r>
            <a:endParaRPr lang="en-US"/>
          </a:p>
        </p:txBody>
      </p:sp>
      <p:sp>
        <p:nvSpPr>
          <p:cNvPr id="1550" name="Shape4_20220426_200359"/>
          <p:cNvSpPr/>
          <p:nvPr>
            <p:custDataLst>
              <p:tags r:id="rId13"/>
            </p:custDataLst>
          </p:nvPr>
        </p:nvSpPr>
        <p:spPr>
          <a:xfrm>
            <a:off x="7427571" y="174920"/>
            <a:ext cx="1517233" cy="1257780"/>
          </a:xfrm>
          <a:prstGeom prst="rect">
            <a:avLst/>
          </a:prstGeom>
          <a:noFill/>
          <a:ln>
            <a:noFill/>
          </a:ln>
        </p:spPr>
        <p:txBody>
          <a:bodyPr spcFirstLastPara="1" wrap="square" lIns="0" tIns="0" rIns="0" bIns="0" anchor="t"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85750" indent="-285750">
              <a:lnSpc>
                <a:spcPct val="90000"/>
              </a:lnSpc>
              <a:spcBef>
                <a:spcPts val="750"/>
              </a:spcBef>
              <a:buFont typeface="Arial"/>
              <a:buChar char="•"/>
            </a:pPr>
            <a:r>
              <a:rPr lang="en-US" sz="1000" b="1">
                <a:solidFill>
                  <a:srgbClr val="000000"/>
                </a:solidFill>
                <a:latin typeface="Franklin Gothic Book"/>
                <a:cs typeface="Helvetica"/>
                <a:sym typeface="Helvetica"/>
              </a:rPr>
              <a:t>Building trust and engagement</a:t>
            </a:r>
            <a:endParaRPr lang="en-US" sz="1000">
              <a:solidFill>
                <a:srgbClr val="000000"/>
              </a:solidFill>
              <a:latin typeface="Franklin Gothic Book"/>
              <a:cs typeface="Helvetica"/>
              <a:sym typeface="Helvetica"/>
            </a:endParaRPr>
          </a:p>
          <a:p>
            <a:pPr marL="628650" lvl="1" indent="-285750">
              <a:lnSpc>
                <a:spcPct val="90000"/>
              </a:lnSpc>
              <a:spcBef>
                <a:spcPts val="375"/>
              </a:spcBef>
              <a:buFont typeface="Courier New,monospace"/>
              <a:buChar char="o"/>
            </a:pPr>
            <a:r>
              <a:rPr lang="en-US" sz="800">
                <a:solidFill>
                  <a:srgbClr val="000000"/>
                </a:solidFill>
                <a:latin typeface="Franklin Gothic Book"/>
                <a:cs typeface="Helvetica"/>
                <a:sym typeface="Helvetica"/>
              </a:rPr>
              <a:t>Communicates clear, authentic message about goals and culture</a:t>
            </a:r>
            <a:endParaRPr lang="en-US" sz="800">
              <a:solidFill>
                <a:srgbClr val="000000"/>
              </a:solidFill>
              <a:latin typeface="Franklin Gothic Book"/>
              <a:cs typeface="Helvetica"/>
            </a:endParaRPr>
          </a:p>
          <a:p>
            <a:pPr marL="628650" lvl="1" indent="-285750">
              <a:lnSpc>
                <a:spcPct val="90000"/>
              </a:lnSpc>
              <a:spcBef>
                <a:spcPts val="375"/>
              </a:spcBef>
              <a:buFont typeface="Courier New,monospace"/>
              <a:buChar char="o"/>
            </a:pPr>
            <a:r>
              <a:rPr lang="en-US" sz="800">
                <a:solidFill>
                  <a:srgbClr val="000000"/>
                </a:solidFill>
                <a:latin typeface="Franklin Gothic Book"/>
                <a:cs typeface="Helvetica"/>
                <a:sym typeface="Helvetica"/>
              </a:rPr>
              <a:t>Fosters trust, engagement, and sense of purpose</a:t>
            </a:r>
            <a:endParaRPr/>
          </a:p>
        </p:txBody>
      </p:sp>
      <p:sp>
        <p:nvSpPr>
          <p:cNvPr id="1530" name="Shape5_20220426_200359"/>
          <p:cNvSpPr/>
          <p:nvPr>
            <p:custDataLst>
              <p:tags r:id="rId14"/>
            </p:custDataLst>
          </p:nvPr>
        </p:nvSpPr>
        <p:spPr>
          <a:xfrm>
            <a:off x="5525406" y="2296662"/>
            <a:ext cx="1355488" cy="1811778"/>
          </a:xfrm>
          <a:prstGeom prst="rect">
            <a:avLst/>
          </a:prstGeom>
          <a:noFill/>
          <a:ln>
            <a:noFill/>
          </a:ln>
        </p:spPr>
        <p:txBody>
          <a:bodyPr spcFirstLastPara="1" wrap="square" lIns="0" tIns="0" rIns="0" bIns="0" anchor="t"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85750" indent="-285750">
              <a:lnSpc>
                <a:spcPct val="90000"/>
              </a:lnSpc>
              <a:spcBef>
                <a:spcPts val="750"/>
              </a:spcBef>
              <a:buFont typeface="Arial"/>
              <a:buChar char="•"/>
            </a:pPr>
            <a:r>
              <a:rPr lang="en-US" sz="1000" b="1">
                <a:solidFill>
                  <a:srgbClr val="000000"/>
                </a:solidFill>
                <a:latin typeface="Franklin Gothic Book"/>
                <a:cs typeface="Helvetica"/>
              </a:rPr>
              <a:t>Supporting professional growth</a:t>
            </a:r>
            <a:endParaRPr lang="en-US" sz="1000">
              <a:solidFill>
                <a:srgbClr val="000000"/>
              </a:solidFill>
              <a:latin typeface="Franklin Gothic Book"/>
              <a:cs typeface="Helvetica"/>
            </a:endParaRPr>
          </a:p>
          <a:p>
            <a:pPr marL="628650" lvl="1" indent="-285750">
              <a:lnSpc>
                <a:spcPct val="90000"/>
              </a:lnSpc>
              <a:spcBef>
                <a:spcPts val="375"/>
              </a:spcBef>
              <a:buFont typeface="Courier New,monospace"/>
              <a:buChar char="o"/>
            </a:pPr>
            <a:r>
              <a:rPr lang="en-US" sz="800">
                <a:solidFill>
                  <a:srgbClr val="000000"/>
                </a:solidFill>
                <a:latin typeface="Franklin Gothic Book"/>
                <a:cs typeface="Helvetica"/>
              </a:rPr>
              <a:t>Offers clear career development paths and learning opportunities</a:t>
            </a:r>
          </a:p>
          <a:p>
            <a:pPr marL="628650" lvl="1" indent="-285750">
              <a:lnSpc>
                <a:spcPct val="90000"/>
              </a:lnSpc>
              <a:spcBef>
                <a:spcPts val="375"/>
              </a:spcBef>
              <a:buFont typeface="Courier New,monospace"/>
              <a:buChar char="o"/>
            </a:pPr>
            <a:r>
              <a:rPr lang="en-US" sz="800">
                <a:solidFill>
                  <a:srgbClr val="000000"/>
                </a:solidFill>
                <a:latin typeface="Franklin Gothic Book"/>
                <a:cs typeface="Helvetica"/>
              </a:rPr>
              <a:t>Retains talent through investment in growth and continuous learning</a:t>
            </a:r>
            <a:endParaRPr lang="en-US"/>
          </a:p>
        </p:txBody>
      </p:sp>
      <p:sp>
        <p:nvSpPr>
          <p:cNvPr id="1539" name="Shape6_20220426_200359"/>
          <p:cNvSpPr/>
          <p:nvPr>
            <p:custDataLst>
              <p:tags r:id="rId15"/>
            </p:custDataLst>
          </p:nvPr>
        </p:nvSpPr>
        <p:spPr>
          <a:xfrm>
            <a:off x="7427571" y="2296662"/>
            <a:ext cx="1614280" cy="1257780"/>
          </a:xfrm>
          <a:prstGeom prst="rect">
            <a:avLst/>
          </a:prstGeom>
          <a:noFill/>
          <a:ln>
            <a:noFill/>
          </a:ln>
        </p:spPr>
        <p:txBody>
          <a:bodyPr spcFirstLastPara="1" wrap="square" lIns="0" tIns="0" rIns="0" bIns="0" anchor="t"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85750" indent="-285750">
              <a:lnSpc>
                <a:spcPct val="90000"/>
              </a:lnSpc>
              <a:spcBef>
                <a:spcPts val="750"/>
              </a:spcBef>
              <a:buFont typeface="Arial"/>
              <a:buChar char="•"/>
            </a:pPr>
            <a:r>
              <a:rPr lang="en-US" sz="1000" b="1">
                <a:solidFill>
                  <a:srgbClr val="000000"/>
                </a:solidFill>
                <a:latin typeface="Franklin Gothic Book"/>
                <a:cs typeface="Helvetica"/>
                <a:sym typeface="Helvetica"/>
              </a:rPr>
              <a:t>Enhancing workplace culture</a:t>
            </a:r>
            <a:endParaRPr lang="en-US" sz="1000">
              <a:solidFill>
                <a:srgbClr val="000000"/>
              </a:solidFill>
              <a:latin typeface="Franklin Gothic Book"/>
              <a:cs typeface="Helvetica"/>
              <a:sym typeface="Helvetica"/>
            </a:endParaRPr>
          </a:p>
          <a:p>
            <a:pPr marL="628650" lvl="1" indent="-285750">
              <a:lnSpc>
                <a:spcPct val="90000"/>
              </a:lnSpc>
              <a:spcBef>
                <a:spcPts val="375"/>
              </a:spcBef>
              <a:buFont typeface="Courier New,monospace"/>
              <a:buChar char="o"/>
            </a:pPr>
            <a:r>
              <a:rPr lang="en-US" sz="800">
                <a:solidFill>
                  <a:srgbClr val="000000"/>
                </a:solidFill>
                <a:latin typeface="Franklin Gothic Book"/>
                <a:cs typeface="Helvetica"/>
                <a:sym typeface="Helvetica"/>
              </a:rPr>
              <a:t>Shapes positive culture where employees feel valued and supported</a:t>
            </a:r>
            <a:endParaRPr lang="en-US" sz="800">
              <a:solidFill>
                <a:srgbClr val="000000"/>
              </a:solidFill>
              <a:latin typeface="Franklin Gothic Book"/>
              <a:cs typeface="Helvetica"/>
            </a:endParaRPr>
          </a:p>
          <a:p>
            <a:pPr marL="628650" lvl="1" indent="-285750">
              <a:lnSpc>
                <a:spcPct val="90000"/>
              </a:lnSpc>
              <a:spcBef>
                <a:spcPts val="375"/>
              </a:spcBef>
              <a:buFont typeface="Courier New,monospace"/>
              <a:buChar char="o"/>
            </a:pPr>
            <a:r>
              <a:rPr lang="en-US" sz="800">
                <a:solidFill>
                  <a:srgbClr val="000000"/>
                </a:solidFill>
                <a:latin typeface="Franklin Gothic Book"/>
                <a:cs typeface="Helvetica"/>
                <a:sym typeface="Helvetica"/>
              </a:rPr>
              <a:t>Reduces burnout and increases job satisfaction</a:t>
            </a:r>
            <a:endParaRPr lang="en-US"/>
          </a:p>
        </p:txBody>
      </p:sp>
      <p:sp>
        <p:nvSpPr>
          <p:cNvPr id="1529" name="Shape0_20220426_200359"/>
          <p:cNvSpPr/>
          <p:nvPr>
            <p:custDataLst>
              <p:tags r:id="rId16"/>
            </p:custDataLst>
          </p:nvPr>
        </p:nvSpPr>
        <p:spPr>
          <a:xfrm>
            <a:off x="3696281" y="2296662"/>
            <a:ext cx="1296397" cy="1368580"/>
          </a:xfrm>
          <a:prstGeom prst="rect">
            <a:avLst/>
          </a:prstGeom>
          <a:noFill/>
          <a:ln>
            <a:noFill/>
          </a:ln>
        </p:spPr>
        <p:txBody>
          <a:bodyPr spcFirstLastPara="1" wrap="square" lIns="0" tIns="0" rIns="0" bIns="0" anchor="t"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85750" indent="-285750">
              <a:lnSpc>
                <a:spcPct val="90000"/>
              </a:lnSpc>
              <a:spcBef>
                <a:spcPts val="750"/>
              </a:spcBef>
              <a:buFont typeface="Arial"/>
              <a:buChar char="•"/>
            </a:pPr>
            <a:r>
              <a:rPr lang="en-US" sz="1000" b="1">
                <a:solidFill>
                  <a:srgbClr val="000000"/>
                </a:solidFill>
                <a:latin typeface="Franklin Gothic Book"/>
                <a:cs typeface="Helvetica"/>
                <a:sym typeface="Helvetica"/>
              </a:rPr>
              <a:t>Employee advocacy</a:t>
            </a:r>
            <a:endParaRPr lang="en-US" sz="1000">
              <a:solidFill>
                <a:srgbClr val="000000"/>
              </a:solidFill>
              <a:latin typeface="Franklin Gothic Book"/>
              <a:cs typeface="Helvetica"/>
              <a:sym typeface="Helvetica"/>
            </a:endParaRPr>
          </a:p>
          <a:p>
            <a:pPr marL="628650" lvl="1" indent="-285750">
              <a:lnSpc>
                <a:spcPct val="90000"/>
              </a:lnSpc>
              <a:spcBef>
                <a:spcPts val="375"/>
              </a:spcBef>
              <a:buFont typeface="Courier New,monospace"/>
              <a:buChar char="o"/>
            </a:pPr>
            <a:r>
              <a:rPr lang="en-US" sz="800">
                <a:solidFill>
                  <a:srgbClr val="000000"/>
                </a:solidFill>
                <a:latin typeface="Franklin Gothic Book"/>
                <a:cs typeface="Helvetica"/>
                <a:sym typeface="Helvetica"/>
              </a:rPr>
              <a:t>Proud employees become brand advocates</a:t>
            </a:r>
            <a:endParaRPr lang="en-US" sz="800">
              <a:solidFill>
                <a:srgbClr val="000000"/>
              </a:solidFill>
              <a:latin typeface="Franklin Gothic Book"/>
              <a:cs typeface="Helvetica"/>
            </a:endParaRPr>
          </a:p>
          <a:p>
            <a:pPr marL="628650" lvl="1" indent="-285750">
              <a:lnSpc>
                <a:spcPct val="90000"/>
              </a:lnSpc>
              <a:spcBef>
                <a:spcPts val="375"/>
              </a:spcBef>
              <a:buFont typeface="Courier New,monospace"/>
              <a:buChar char="o"/>
            </a:pPr>
            <a:r>
              <a:rPr lang="en-US" sz="800">
                <a:solidFill>
                  <a:srgbClr val="000000"/>
                </a:solidFill>
                <a:latin typeface="Franklin Gothic Book"/>
                <a:cs typeface="Helvetica"/>
                <a:sym typeface="Helvetica"/>
              </a:rPr>
              <a:t>Strengthens company reputation and appeal</a:t>
            </a:r>
            <a:endParaRPr/>
          </a:p>
        </p:txBody>
      </p:sp>
      <p:sp>
        <p:nvSpPr>
          <p:cNvPr id="4" name="Slide Number Placeholder 3">
            <a:extLst>
              <a:ext uri="{FF2B5EF4-FFF2-40B4-BE49-F238E27FC236}">
                <a16:creationId xmlns:a16="http://schemas.microsoft.com/office/drawing/2014/main" id="{9FDCB2D0-0879-4E75-809D-AF34381BEA10}"/>
              </a:ext>
            </a:extLst>
          </p:cNvPr>
          <p:cNvSpPr>
            <a:spLocks noGrp="1"/>
          </p:cNvSpPr>
          <p:nvPr>
            <p:ph type="sldNum" sz="quarter" idx="12"/>
          </p:nvPr>
        </p:nvSpPr>
        <p:spPr/>
        <p:txBody>
          <a:bodyPr/>
          <a:ls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6F896B4A-66F4-420A-A099-F174BF1A0A20}" type="slidenum">
              <a:rPr lang="en-US" smtClean="0"/>
              <a:t>16</a:t>
            </a:fld>
            <a:endParaRPr lang="en-US"/>
          </a:p>
        </p:txBody>
      </p:sp>
    </p:spTree>
    <p:custDataLst>
      <p:tags r:id="rId1"/>
    </p:custDataLst>
    <p:extLst>
      <p:ext uri="{BB962C8B-B14F-4D97-AF65-F5344CB8AC3E}">
        <p14:creationId xmlns:p14="http://schemas.microsoft.com/office/powerpoint/2010/main" val="3604901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017706-9DD8-4B7F-802A-25C7B8003EA0}"/>
              </a:ext>
            </a:extLst>
          </p:cNvPr>
          <p:cNvSpPr>
            <a:spLocks noGrp="1"/>
          </p:cNvSpPr>
          <p:nvPr>
            <p:ph type="title"/>
            <p:custDataLst>
              <p:tags r:id="rId2"/>
            </p:custDataLst>
          </p:nvPr>
        </p:nvSpPr>
        <p:spPr>
          <a:xfrm>
            <a:off x="762381" y="489014"/>
            <a:ext cx="7619238" cy="384048"/>
          </a:xfrm>
        </p:spPr>
        <p:txBody>
          <a:bodyP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IN" sz="3000">
                <a:solidFill>
                  <a:srgbClr val="00B050"/>
                </a:solidFill>
              </a:rPr>
              <a:t>Strategies to Enhance Employer Brand</a:t>
            </a:r>
            <a:endParaRPr lang="en-US" sz="3000">
              <a:solidFill>
                <a:srgbClr val="00B050"/>
              </a:solidFill>
            </a:endParaRPr>
          </a:p>
        </p:txBody>
      </p:sp>
      <p:sp>
        <p:nvSpPr>
          <p:cNvPr id="22" name="Shape1_20220505_152646">
            <a:extLst>
              <a:ext uri="{FF2B5EF4-FFF2-40B4-BE49-F238E27FC236}">
                <a16:creationId xmlns:a16="http://schemas.microsoft.com/office/drawing/2014/main" id="{DC43A096-7C12-4F55-96DF-B0F300A5BF63}"/>
              </a:ext>
            </a:extLst>
          </p:cNvPr>
          <p:cNvSpPr txBox="1"/>
          <p:nvPr>
            <p:custDataLst>
              <p:tags r:id="rId3"/>
            </p:custDataLst>
          </p:nvPr>
        </p:nvSpPr>
        <p:spPr>
          <a:xfrm>
            <a:off x="986330" y="4001426"/>
            <a:ext cx="2651826" cy="184666"/>
          </a:xfrm>
          <a:prstGeom prst="rect">
            <a:avLst/>
          </a:prstGeom>
          <a:noFill/>
          <a:effectLst/>
        </p:spPr>
        <p:txBody>
          <a:bodyPr wrap="square" lIns="0" tIns="0" rIns="0" bIns="0" rtlCol="0" anchor="b">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defTabSz="685783"/>
            <a:r>
              <a:rPr lang="en-US" sz="1200" b="1">
                <a:solidFill>
                  <a:srgbClr val="00B050"/>
                </a:solidFill>
                <a:latin typeface="Franklin Gothic Book" panose="020B0503020102020204"/>
              </a:rPr>
              <a:t>Improve work-life balance initiatives</a:t>
            </a:r>
          </a:p>
        </p:txBody>
      </p:sp>
      <p:sp>
        <p:nvSpPr>
          <p:cNvPr id="23" name="Shape2_20220505_152646">
            <a:extLst>
              <a:ext uri="{FF2B5EF4-FFF2-40B4-BE49-F238E27FC236}">
                <a16:creationId xmlns:a16="http://schemas.microsoft.com/office/drawing/2014/main" id="{05DC6245-B0DA-4C25-92FF-7749AA7BE828}"/>
              </a:ext>
            </a:extLst>
          </p:cNvPr>
          <p:cNvSpPr txBox="1"/>
          <p:nvPr>
            <p:custDataLst>
              <p:tags r:id="rId4"/>
            </p:custDataLst>
          </p:nvPr>
        </p:nvSpPr>
        <p:spPr>
          <a:xfrm>
            <a:off x="1371205" y="4239660"/>
            <a:ext cx="2461709" cy="507831"/>
          </a:xfrm>
          <a:prstGeom prst="rect">
            <a:avLst/>
          </a:prstGeom>
          <a:noFill/>
          <a:effectLst/>
        </p:spPr>
        <p:txBody>
          <a:bodyPr wrap="square" lIns="0" tIns="0" rIns="0" bIns="0" rtlCol="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28594" lvl="1" indent="-228594" defTabSz="685783">
              <a:buFont typeface=""/>
              <a:buChar char="•"/>
            </a:pPr>
            <a:r>
              <a:rPr lang="en-US" sz="825">
                <a:solidFill>
                  <a:prstClr val="black"/>
                </a:solidFill>
                <a:latin typeface="Franklin Gothic Book" panose="020B0503020102020204"/>
              </a:rPr>
              <a:t>Offer flexible working options (remote, hybrid, flexible hours)</a:t>
            </a:r>
          </a:p>
          <a:p>
            <a:pPr marL="228594" lvl="1" indent="-228594" defTabSz="685783">
              <a:buFont typeface=""/>
              <a:buChar char="•"/>
            </a:pPr>
            <a:r>
              <a:rPr lang="en-US" sz="825">
                <a:solidFill>
                  <a:prstClr val="black"/>
                </a:solidFill>
                <a:latin typeface="Franklin Gothic Book" panose="020B0503020102020204"/>
              </a:rPr>
              <a:t>Support employee wellness with health programs and mental health resources</a:t>
            </a:r>
          </a:p>
        </p:txBody>
      </p:sp>
      <p:sp>
        <p:nvSpPr>
          <p:cNvPr id="28" name="Shape5_20220505_152646">
            <a:extLst>
              <a:ext uri="{FF2B5EF4-FFF2-40B4-BE49-F238E27FC236}">
                <a16:creationId xmlns:a16="http://schemas.microsoft.com/office/drawing/2014/main" id="{66F2E2CF-CFAD-49F9-B84F-20C14AF8F719}"/>
              </a:ext>
            </a:extLst>
          </p:cNvPr>
          <p:cNvSpPr txBox="1"/>
          <p:nvPr>
            <p:custDataLst>
              <p:tags r:id="rId5"/>
            </p:custDataLst>
          </p:nvPr>
        </p:nvSpPr>
        <p:spPr>
          <a:xfrm>
            <a:off x="5460749" y="3898376"/>
            <a:ext cx="2848595" cy="184666"/>
          </a:xfrm>
          <a:prstGeom prst="rect">
            <a:avLst/>
          </a:prstGeom>
          <a:noFill/>
          <a:effectLst/>
        </p:spPr>
        <p:txBody>
          <a:bodyPr wrap="square" lIns="0" tIns="0" rIns="0" bIns="0" rtlCol="0" anchor="b">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685783"/>
            <a:r>
              <a:rPr lang="en-US" sz="1200" b="1">
                <a:solidFill>
                  <a:srgbClr val="00B050"/>
                </a:solidFill>
                <a:latin typeface="Franklin Gothic Book" panose="020B0503020102020204"/>
              </a:rPr>
              <a:t>Strengthen leadership engagement</a:t>
            </a:r>
          </a:p>
        </p:txBody>
      </p:sp>
      <p:sp>
        <p:nvSpPr>
          <p:cNvPr id="29" name="Shape6_20220505_152646">
            <a:extLst>
              <a:ext uri="{FF2B5EF4-FFF2-40B4-BE49-F238E27FC236}">
                <a16:creationId xmlns:a16="http://schemas.microsoft.com/office/drawing/2014/main" id="{449CF834-E4DC-4566-B770-3EF51F2FAC22}"/>
              </a:ext>
            </a:extLst>
          </p:cNvPr>
          <p:cNvSpPr txBox="1"/>
          <p:nvPr>
            <p:custDataLst>
              <p:tags r:id="rId6"/>
            </p:custDataLst>
          </p:nvPr>
        </p:nvSpPr>
        <p:spPr>
          <a:xfrm>
            <a:off x="5380846" y="4173869"/>
            <a:ext cx="2776825" cy="380873"/>
          </a:xfrm>
          <a:prstGeom prst="rect">
            <a:avLst/>
          </a:prstGeom>
          <a:noFill/>
          <a:effectLst/>
        </p:spPr>
        <p:txBody>
          <a:bodyPr wrap="square" lIns="0" tIns="0" rIns="0" bIns="0" rtlCol="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28594" lvl="1" indent="-228594" defTabSz="685783">
              <a:buFont typeface=""/>
              <a:buChar char="•"/>
            </a:pPr>
            <a:r>
              <a:rPr lang="en-US" sz="825">
                <a:solidFill>
                  <a:prstClr val="black"/>
                </a:solidFill>
                <a:latin typeface="Franklin Gothic Book" panose="020B0503020102020204"/>
              </a:rPr>
              <a:t>Ensure visible, transparent leadership communication</a:t>
            </a:r>
          </a:p>
          <a:p>
            <a:pPr marL="228594" lvl="1" indent="-228594" defTabSz="685783">
              <a:buFont typeface=""/>
              <a:buChar char="•"/>
            </a:pPr>
            <a:r>
              <a:rPr lang="en-US" sz="825">
                <a:solidFill>
                  <a:prstClr val="black"/>
                </a:solidFill>
                <a:latin typeface="Franklin Gothic Book" panose="020B0503020102020204"/>
              </a:rPr>
              <a:t>Create a culture of recognition and appreciation from the top down</a:t>
            </a:r>
          </a:p>
        </p:txBody>
      </p:sp>
      <p:sp>
        <p:nvSpPr>
          <p:cNvPr id="25" name="Shape3_20220505_152646">
            <a:extLst>
              <a:ext uri="{FF2B5EF4-FFF2-40B4-BE49-F238E27FC236}">
                <a16:creationId xmlns:a16="http://schemas.microsoft.com/office/drawing/2014/main" id="{B96326AE-C6BF-41AA-9D19-74BAA2F9F359}"/>
              </a:ext>
            </a:extLst>
          </p:cNvPr>
          <p:cNvSpPr txBox="1"/>
          <p:nvPr>
            <p:custDataLst>
              <p:tags r:id="rId7"/>
            </p:custDataLst>
          </p:nvPr>
        </p:nvSpPr>
        <p:spPr>
          <a:xfrm>
            <a:off x="495300" y="2866077"/>
            <a:ext cx="2398360" cy="369332"/>
          </a:xfrm>
          <a:prstGeom prst="rect">
            <a:avLst/>
          </a:prstGeom>
          <a:noFill/>
        </p:spPr>
        <p:txBody>
          <a:bodyPr wrap="square" lIns="0" tIns="0" rIns="0" bIns="0" rtlCol="0" anchor="b">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defTabSz="685783"/>
            <a:r>
              <a:rPr lang="en-US" sz="1200" b="1">
                <a:solidFill>
                  <a:srgbClr val="00B050"/>
                </a:solidFill>
                <a:latin typeface="Franklin Gothic Book" panose="020B0503020102020204"/>
              </a:rPr>
              <a:t>Promote diversity, equity, and inclusion (DEI) efforts</a:t>
            </a:r>
          </a:p>
        </p:txBody>
      </p:sp>
      <p:sp>
        <p:nvSpPr>
          <p:cNvPr id="26" name="Shape4_20220505_152646">
            <a:extLst>
              <a:ext uri="{FF2B5EF4-FFF2-40B4-BE49-F238E27FC236}">
                <a16:creationId xmlns:a16="http://schemas.microsoft.com/office/drawing/2014/main" id="{4D59F24D-D15E-4B22-97A1-468A180164CE}"/>
              </a:ext>
            </a:extLst>
          </p:cNvPr>
          <p:cNvSpPr txBox="1"/>
          <p:nvPr>
            <p:custDataLst>
              <p:tags r:id="rId8"/>
            </p:custDataLst>
          </p:nvPr>
        </p:nvSpPr>
        <p:spPr>
          <a:xfrm>
            <a:off x="1156291" y="3255453"/>
            <a:ext cx="1914095" cy="507831"/>
          </a:xfrm>
          <a:prstGeom prst="rect">
            <a:avLst/>
          </a:prstGeom>
          <a:noFill/>
        </p:spPr>
        <p:txBody>
          <a:bodyPr wrap="square" lIns="0" tIns="0" rIns="0" bIns="0" rtlCol="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28594" lvl="1" indent="-228594" defTabSz="685783">
              <a:buFont typeface=""/>
              <a:buChar char="•"/>
            </a:pPr>
            <a:r>
              <a:rPr lang="en-US" sz="825">
                <a:solidFill>
                  <a:prstClr val="black"/>
                </a:solidFill>
                <a:latin typeface="Franklin Gothic Book" panose="020B0503020102020204"/>
              </a:rPr>
              <a:t>Implement and communicate DEI programs and goals</a:t>
            </a:r>
          </a:p>
          <a:p>
            <a:pPr marL="228594" lvl="1" indent="-228594" defTabSz="685783">
              <a:buFont typeface=""/>
              <a:buChar char="•"/>
            </a:pPr>
            <a:r>
              <a:rPr lang="en-US" sz="825">
                <a:solidFill>
                  <a:prstClr val="black"/>
                </a:solidFill>
                <a:latin typeface="Franklin Gothic Book" panose="020B0503020102020204"/>
              </a:rPr>
              <a:t>Celebrate diversity and foster a sense of belonging</a:t>
            </a:r>
          </a:p>
        </p:txBody>
      </p:sp>
      <p:sp>
        <p:nvSpPr>
          <p:cNvPr id="31" name="Shape7_20220505_152646">
            <a:extLst>
              <a:ext uri="{FF2B5EF4-FFF2-40B4-BE49-F238E27FC236}">
                <a16:creationId xmlns:a16="http://schemas.microsoft.com/office/drawing/2014/main" id="{855D3D9D-8A91-46DA-B258-549511168457}"/>
              </a:ext>
            </a:extLst>
          </p:cNvPr>
          <p:cNvSpPr txBox="1"/>
          <p:nvPr>
            <p:custDataLst>
              <p:tags r:id="rId9"/>
            </p:custDataLst>
          </p:nvPr>
        </p:nvSpPr>
        <p:spPr>
          <a:xfrm>
            <a:off x="650942" y="2120393"/>
            <a:ext cx="2398360" cy="507831"/>
          </a:xfrm>
          <a:prstGeom prst="rect">
            <a:avLst/>
          </a:prstGeom>
          <a:noFill/>
        </p:spPr>
        <p:txBody>
          <a:bodyPr wrap="square" lIns="0" tIns="0" rIns="0" bIns="0" rtlCol="0" anchor="b">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28594" lvl="1" indent="-228594" defTabSz="685783">
              <a:buFont typeface=""/>
              <a:buChar char="•"/>
            </a:pPr>
            <a:r>
              <a:rPr lang="en-US" sz="825">
                <a:solidFill>
                  <a:prstClr val="black"/>
                </a:solidFill>
                <a:latin typeface="Franklin Gothic Book" panose="020B0503020102020204"/>
              </a:rPr>
              <a:t>Regularly gather feedback through surveys and focus groups</a:t>
            </a:r>
          </a:p>
          <a:p>
            <a:pPr marL="228594" lvl="1" indent="-228594" defTabSz="685783">
              <a:buFont typeface=""/>
              <a:buChar char="•"/>
            </a:pPr>
            <a:r>
              <a:rPr lang="en-US" sz="825">
                <a:solidFill>
                  <a:prstClr val="black"/>
                </a:solidFill>
                <a:latin typeface="Franklin Gothic Book" panose="020B0503020102020204"/>
              </a:rPr>
              <a:t>Make visible changes based on feedback to show responsiveness</a:t>
            </a:r>
          </a:p>
        </p:txBody>
      </p:sp>
      <p:sp>
        <p:nvSpPr>
          <p:cNvPr id="32" name="Shape8_20220505_152646">
            <a:extLst>
              <a:ext uri="{FF2B5EF4-FFF2-40B4-BE49-F238E27FC236}">
                <a16:creationId xmlns:a16="http://schemas.microsoft.com/office/drawing/2014/main" id="{18EAFA81-1858-4119-8FCB-DA4087155334}"/>
              </a:ext>
            </a:extLst>
          </p:cNvPr>
          <p:cNvSpPr txBox="1"/>
          <p:nvPr>
            <p:custDataLst>
              <p:tags r:id="rId10"/>
            </p:custDataLst>
          </p:nvPr>
        </p:nvSpPr>
        <p:spPr>
          <a:xfrm>
            <a:off x="199129" y="1899259"/>
            <a:ext cx="2689961" cy="184666"/>
          </a:xfrm>
          <a:prstGeom prst="rect">
            <a:avLst/>
          </a:prstGeom>
          <a:noFill/>
        </p:spPr>
        <p:txBody>
          <a:bodyPr wrap="square" lIns="0" tIns="0" rIns="0" bIns="0" rtlCol="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defTabSz="685783"/>
            <a:r>
              <a:rPr lang="en-US" sz="1200" b="1">
                <a:solidFill>
                  <a:srgbClr val="00B050"/>
                </a:solidFill>
                <a:latin typeface="Franklin Gothic Book" panose="020B0503020102020204"/>
              </a:rPr>
              <a:t>Solicit and act on employee feedback</a:t>
            </a:r>
          </a:p>
        </p:txBody>
      </p:sp>
      <p:sp>
        <p:nvSpPr>
          <p:cNvPr id="34" name="Shape9_20220505_152646">
            <a:extLst>
              <a:ext uri="{FF2B5EF4-FFF2-40B4-BE49-F238E27FC236}">
                <a16:creationId xmlns:a16="http://schemas.microsoft.com/office/drawing/2014/main" id="{646A7CBD-BFF2-485C-BF58-25856826F6A6}"/>
              </a:ext>
            </a:extLst>
          </p:cNvPr>
          <p:cNvSpPr txBox="1"/>
          <p:nvPr>
            <p:custDataLst>
              <p:tags r:id="rId11"/>
            </p:custDataLst>
          </p:nvPr>
        </p:nvSpPr>
        <p:spPr>
          <a:xfrm>
            <a:off x="663637" y="1163216"/>
            <a:ext cx="3169277" cy="184666"/>
          </a:xfrm>
          <a:prstGeom prst="rect">
            <a:avLst/>
          </a:prstGeom>
          <a:noFill/>
          <a:effectLst/>
        </p:spPr>
        <p:txBody>
          <a:bodyPr wrap="square" lIns="0" tIns="0" rIns="0" bIns="0" rtlCol="0" anchor="b">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685783"/>
            <a:r>
              <a:rPr lang="en-US" sz="1200" b="1">
                <a:solidFill>
                  <a:srgbClr val="00B050"/>
                </a:solidFill>
                <a:latin typeface="Franklin Gothic Book" panose="020B0503020102020204"/>
              </a:rPr>
              <a:t>Define a clear employee value proposition (EVP)</a:t>
            </a:r>
          </a:p>
        </p:txBody>
      </p:sp>
      <p:sp>
        <p:nvSpPr>
          <p:cNvPr id="35" name="Shape0_20220505_152646">
            <a:extLst>
              <a:ext uri="{FF2B5EF4-FFF2-40B4-BE49-F238E27FC236}">
                <a16:creationId xmlns:a16="http://schemas.microsoft.com/office/drawing/2014/main" id="{417704B4-7D87-46DF-84AB-675C58E2DC00}"/>
              </a:ext>
            </a:extLst>
          </p:cNvPr>
          <p:cNvSpPr txBox="1"/>
          <p:nvPr>
            <p:custDataLst>
              <p:tags r:id="rId12"/>
            </p:custDataLst>
          </p:nvPr>
        </p:nvSpPr>
        <p:spPr>
          <a:xfrm>
            <a:off x="657937" y="1354376"/>
            <a:ext cx="3040646" cy="253916"/>
          </a:xfrm>
          <a:prstGeom prst="rect">
            <a:avLst/>
          </a:prstGeom>
          <a:noFill/>
          <a:effectLst/>
        </p:spPr>
        <p:txBody>
          <a:bodyPr wrap="square" lIns="0" tIns="0" rIns="0" bIns="0" rtlCol="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28594" lvl="1" indent="-228594" defTabSz="685783">
              <a:buFont typeface=""/>
              <a:buChar char="•"/>
            </a:pPr>
            <a:r>
              <a:rPr lang="en-US" sz="825">
                <a:solidFill>
                  <a:prstClr val="black"/>
                </a:solidFill>
                <a:latin typeface="Franklin Gothic Book" panose="020B0503020102020204"/>
              </a:rPr>
              <a:t>Articulate what sets your company apart</a:t>
            </a:r>
          </a:p>
          <a:p>
            <a:pPr marL="228594" lvl="1" indent="-228594" defTabSz="685783">
              <a:buFont typeface=""/>
              <a:buChar char="•"/>
            </a:pPr>
            <a:r>
              <a:rPr lang="en-US" sz="825">
                <a:solidFill>
                  <a:prstClr val="black"/>
                </a:solidFill>
                <a:latin typeface="Franklin Gothic Book" panose="020B0503020102020204"/>
              </a:rPr>
              <a:t>Align EVP with company values and employee expectations</a:t>
            </a:r>
          </a:p>
        </p:txBody>
      </p:sp>
      <p:sp>
        <p:nvSpPr>
          <p:cNvPr id="37" name="Shape10_20220505_152646">
            <a:extLst>
              <a:ext uri="{FF2B5EF4-FFF2-40B4-BE49-F238E27FC236}">
                <a16:creationId xmlns:a16="http://schemas.microsoft.com/office/drawing/2014/main" id="{737606E3-B0F2-4821-A638-457F2EE4D965}"/>
              </a:ext>
            </a:extLst>
          </p:cNvPr>
          <p:cNvSpPr txBox="1"/>
          <p:nvPr>
            <p:custDataLst>
              <p:tags r:id="rId13"/>
            </p:custDataLst>
          </p:nvPr>
        </p:nvSpPr>
        <p:spPr>
          <a:xfrm>
            <a:off x="6250341" y="2866077"/>
            <a:ext cx="2388835" cy="369332"/>
          </a:xfrm>
          <a:prstGeom prst="rect">
            <a:avLst/>
          </a:prstGeom>
          <a:noFill/>
        </p:spPr>
        <p:txBody>
          <a:bodyPr wrap="square" lIns="0" tIns="0" rIns="0" bIns="0" rtlCol="0" anchor="b">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685783"/>
            <a:r>
              <a:rPr lang="en-US" sz="1200" b="1">
                <a:solidFill>
                  <a:srgbClr val="00B050"/>
                </a:solidFill>
                <a:latin typeface="Franklin Gothic Book" panose="020B0503020102020204"/>
              </a:rPr>
              <a:t>Leverage employee testimonials and success stories</a:t>
            </a:r>
          </a:p>
        </p:txBody>
      </p:sp>
      <p:sp>
        <p:nvSpPr>
          <p:cNvPr id="38" name="Shape11_20220505_152646">
            <a:extLst>
              <a:ext uri="{FF2B5EF4-FFF2-40B4-BE49-F238E27FC236}">
                <a16:creationId xmlns:a16="http://schemas.microsoft.com/office/drawing/2014/main" id="{A2DB00CB-61D3-44B2-9F5D-F2443D8B5753}"/>
              </a:ext>
            </a:extLst>
          </p:cNvPr>
          <p:cNvSpPr txBox="1"/>
          <p:nvPr>
            <p:custDataLst>
              <p:tags r:id="rId14"/>
            </p:custDataLst>
          </p:nvPr>
        </p:nvSpPr>
        <p:spPr>
          <a:xfrm>
            <a:off x="6250341" y="3255452"/>
            <a:ext cx="2388835" cy="507831"/>
          </a:xfrm>
          <a:prstGeom prst="rect">
            <a:avLst/>
          </a:prstGeom>
          <a:noFill/>
        </p:spPr>
        <p:txBody>
          <a:bodyPr wrap="square" lIns="0" tIns="0" rIns="0" bIns="0" rtlCol="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28594" lvl="1" indent="-228594" defTabSz="685783">
              <a:buFont typeface=""/>
              <a:buChar char="•"/>
            </a:pPr>
            <a:r>
              <a:rPr lang="en-US" sz="825">
                <a:solidFill>
                  <a:prstClr val="black"/>
                </a:solidFill>
                <a:latin typeface="Franklin Gothic Book" panose="020B0503020102020204"/>
              </a:rPr>
              <a:t>Showcase real experiences from current employees</a:t>
            </a:r>
          </a:p>
          <a:p>
            <a:pPr marL="228594" lvl="1" indent="-228594" defTabSz="685783">
              <a:buFont typeface=""/>
              <a:buChar char="•"/>
            </a:pPr>
            <a:r>
              <a:rPr lang="en-US" sz="825">
                <a:solidFill>
                  <a:prstClr val="black"/>
                </a:solidFill>
                <a:latin typeface="Franklin Gothic Book" panose="020B0503020102020204"/>
              </a:rPr>
              <a:t>Use testimonials in recruitment materials and on social media</a:t>
            </a:r>
          </a:p>
        </p:txBody>
      </p:sp>
      <p:sp>
        <p:nvSpPr>
          <p:cNvPr id="40" name="Shape12_20220505_152646">
            <a:extLst>
              <a:ext uri="{FF2B5EF4-FFF2-40B4-BE49-F238E27FC236}">
                <a16:creationId xmlns:a16="http://schemas.microsoft.com/office/drawing/2014/main" id="{24B8F1DB-684A-447C-B638-E8B222ADBA06}"/>
              </a:ext>
            </a:extLst>
          </p:cNvPr>
          <p:cNvSpPr txBox="1"/>
          <p:nvPr>
            <p:custDataLst>
              <p:tags r:id="rId15"/>
            </p:custDataLst>
          </p:nvPr>
        </p:nvSpPr>
        <p:spPr>
          <a:xfrm>
            <a:off x="6094745" y="2002599"/>
            <a:ext cx="3001476" cy="311624"/>
          </a:xfrm>
          <a:prstGeom prst="rect">
            <a:avLst/>
          </a:prstGeom>
          <a:noFill/>
        </p:spPr>
        <p:txBody>
          <a:bodyPr wrap="square" lIns="0" tIns="0" rIns="0" bIns="0" rtlCol="0" anchor="b">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685783">
              <a:defRPr/>
            </a:pPr>
            <a:r>
              <a:rPr lang="en-US" sz="1200" b="1">
                <a:solidFill>
                  <a:srgbClr val="00B050"/>
                </a:solidFill>
                <a:latin typeface="Franklin Gothic Book" panose="020B0503020102020204"/>
              </a:rPr>
              <a:t>Offer professional development opportunities</a:t>
            </a:r>
          </a:p>
          <a:p>
            <a:pPr defTabSz="685783">
              <a:defRPr/>
            </a:pPr>
            <a:endParaRPr lang="en-US" sz="825" b="1">
              <a:solidFill>
                <a:srgbClr val="00B050"/>
              </a:solidFill>
              <a:latin typeface="Century Gothic" panose="020B0502020202020204" pitchFamily="34" charset="0"/>
            </a:endParaRPr>
          </a:p>
        </p:txBody>
      </p:sp>
      <p:sp>
        <p:nvSpPr>
          <p:cNvPr id="41" name="Shape13_20220505_152646">
            <a:extLst>
              <a:ext uri="{FF2B5EF4-FFF2-40B4-BE49-F238E27FC236}">
                <a16:creationId xmlns:a16="http://schemas.microsoft.com/office/drawing/2014/main" id="{EADBD50C-53AB-40C0-B160-6B25374A70EE}"/>
              </a:ext>
            </a:extLst>
          </p:cNvPr>
          <p:cNvSpPr txBox="1"/>
          <p:nvPr>
            <p:custDataLst>
              <p:tags r:id="rId16"/>
            </p:custDataLst>
          </p:nvPr>
        </p:nvSpPr>
        <p:spPr>
          <a:xfrm>
            <a:off x="6094745" y="2217615"/>
            <a:ext cx="2388835" cy="507831"/>
          </a:xfrm>
          <a:prstGeom prst="rect">
            <a:avLst/>
          </a:prstGeom>
          <a:noFill/>
        </p:spPr>
        <p:txBody>
          <a:bodyPr wrap="square" lIns="0" tIns="0" rIns="0" bIns="0" rtlCol="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28594" lvl="1" indent="-228594" defTabSz="685783">
              <a:buFont typeface=""/>
              <a:buChar char="•"/>
            </a:pPr>
            <a:r>
              <a:rPr lang="en-US" sz="825">
                <a:solidFill>
                  <a:prstClr val="black"/>
                </a:solidFill>
                <a:latin typeface="Franklin Gothic Book" panose="020B0503020102020204"/>
              </a:rPr>
              <a:t>Provide clear career progression and continuous learning programs</a:t>
            </a:r>
          </a:p>
          <a:p>
            <a:pPr marL="228594" lvl="1" indent="-228594" defTabSz="685783">
              <a:buFont typeface=""/>
              <a:buChar char="•"/>
            </a:pPr>
            <a:r>
              <a:rPr lang="en-US" sz="825">
                <a:solidFill>
                  <a:prstClr val="black"/>
                </a:solidFill>
                <a:latin typeface="Franklin Gothic Book" panose="020B0503020102020204"/>
              </a:rPr>
              <a:t>Invest in employee growth through training and mentorship</a:t>
            </a:r>
          </a:p>
        </p:txBody>
      </p:sp>
      <p:sp>
        <p:nvSpPr>
          <p:cNvPr id="42" name="Shape14_20220505_152646">
            <a:extLst>
              <a:ext uri="{FF2B5EF4-FFF2-40B4-BE49-F238E27FC236}">
                <a16:creationId xmlns:a16="http://schemas.microsoft.com/office/drawing/2014/main" id="{8B64EE8A-6036-4C90-A6C5-5CAA036F6CA7}"/>
              </a:ext>
            </a:extLst>
          </p:cNvPr>
          <p:cNvSpPr txBox="1"/>
          <p:nvPr>
            <p:custDataLst>
              <p:tags r:id="rId17"/>
            </p:custDataLst>
          </p:nvPr>
        </p:nvSpPr>
        <p:spPr>
          <a:xfrm>
            <a:off x="5413139" y="1083227"/>
            <a:ext cx="2233716" cy="184666"/>
          </a:xfrm>
          <a:prstGeom prst="rect">
            <a:avLst/>
          </a:prstGeom>
          <a:noFill/>
          <a:effectLst/>
        </p:spPr>
        <p:txBody>
          <a:bodyPr wrap="square" lIns="0" tIns="0" rIns="0" bIns="0" rtlCol="0" anchor="b">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685783"/>
            <a:r>
              <a:rPr lang="en-US" sz="1200" b="1">
                <a:solidFill>
                  <a:srgbClr val="00B050"/>
                </a:solidFill>
                <a:latin typeface="Franklin Gothic Book" panose="020B0503020102020204"/>
              </a:rPr>
              <a:t>Enhance company culture</a:t>
            </a:r>
          </a:p>
        </p:txBody>
      </p:sp>
      <p:sp>
        <p:nvSpPr>
          <p:cNvPr id="43" name="Shape15_20220505_152646">
            <a:extLst>
              <a:ext uri="{FF2B5EF4-FFF2-40B4-BE49-F238E27FC236}">
                <a16:creationId xmlns:a16="http://schemas.microsoft.com/office/drawing/2014/main" id="{D6F6B457-C63E-4051-B022-96B1554A4F81}"/>
              </a:ext>
            </a:extLst>
          </p:cNvPr>
          <p:cNvSpPr txBox="1"/>
          <p:nvPr>
            <p:custDataLst>
              <p:tags r:id="rId18"/>
            </p:custDataLst>
          </p:nvPr>
        </p:nvSpPr>
        <p:spPr>
          <a:xfrm>
            <a:off x="5479423" y="1290457"/>
            <a:ext cx="2233716" cy="507831"/>
          </a:xfrm>
          <a:prstGeom prst="rect">
            <a:avLst/>
          </a:prstGeom>
          <a:noFill/>
          <a:effectLst/>
        </p:spPr>
        <p:txBody>
          <a:bodyPr wrap="square" lIns="0" tIns="0" rIns="0" bIns="0" rtlCol="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28594" lvl="1" indent="-228594" defTabSz="685783">
              <a:buFont typeface=""/>
              <a:buChar char="•"/>
            </a:pPr>
            <a:r>
              <a:rPr lang="en-US" sz="825">
                <a:solidFill>
                  <a:prstClr val="black"/>
                </a:solidFill>
                <a:latin typeface="Franklin Gothic Book" panose="020B0503020102020204"/>
              </a:rPr>
              <a:t>Foster an inclusive, supportive, and innovative work environment</a:t>
            </a:r>
          </a:p>
          <a:p>
            <a:pPr marL="228594" lvl="1" indent="-228594" defTabSz="685783">
              <a:buFont typeface=""/>
              <a:buChar char="•"/>
            </a:pPr>
            <a:r>
              <a:rPr lang="en-US" sz="825">
                <a:solidFill>
                  <a:prstClr val="black"/>
                </a:solidFill>
                <a:latin typeface="Franklin Gothic Book" panose="020B0503020102020204"/>
              </a:rPr>
              <a:t>Encourage open communication and collaboration across teams</a:t>
            </a:r>
          </a:p>
        </p:txBody>
      </p:sp>
      <p:sp>
        <p:nvSpPr>
          <p:cNvPr id="16" name="Shape1_20210625_204930">
            <a:extLst>
              <a:ext uri="{FF2B5EF4-FFF2-40B4-BE49-F238E27FC236}">
                <a16:creationId xmlns:a16="http://schemas.microsoft.com/office/drawing/2014/main" id="{FBDCFF57-8992-4D18-82EB-51DC94775EA5}"/>
              </a:ext>
            </a:extLst>
          </p:cNvPr>
          <p:cNvSpPr/>
          <p:nvPr>
            <p:custDataLst>
              <p:tags r:id="rId19"/>
            </p:custDataLst>
          </p:nvPr>
        </p:nvSpPr>
        <p:spPr>
          <a:xfrm>
            <a:off x="4723100" y="1166530"/>
            <a:ext cx="1346345" cy="1346346"/>
          </a:xfrm>
          <a:custGeom>
            <a:avLst/>
            <a:gdLst>
              <a:gd name="T0" fmla="*/ 548 w 1095"/>
              <a:gd name="T1" fmla="*/ 781 h 1094"/>
              <a:gd name="T2" fmla="*/ 646 w 1095"/>
              <a:gd name="T3" fmla="*/ 1004 h 1094"/>
              <a:gd name="T4" fmla="*/ 651 w 1095"/>
              <a:gd name="T5" fmla="*/ 1010 h 1094"/>
              <a:gd name="T6" fmla="*/ 661 w 1095"/>
              <a:gd name="T7" fmla="*/ 1019 h 1094"/>
              <a:gd name="T8" fmla="*/ 666 w 1095"/>
              <a:gd name="T9" fmla="*/ 1023 h 1094"/>
              <a:gd name="T10" fmla="*/ 675 w 1095"/>
              <a:gd name="T11" fmla="*/ 1031 h 1094"/>
              <a:gd name="T12" fmla="*/ 680 w 1095"/>
              <a:gd name="T13" fmla="*/ 1035 h 1094"/>
              <a:gd name="T14" fmla="*/ 691 w 1095"/>
              <a:gd name="T15" fmla="*/ 1042 h 1094"/>
              <a:gd name="T16" fmla="*/ 696 w 1095"/>
              <a:gd name="T17" fmla="*/ 1045 h 1094"/>
              <a:gd name="T18" fmla="*/ 706 w 1095"/>
              <a:gd name="T19" fmla="*/ 1051 h 1094"/>
              <a:gd name="T20" fmla="*/ 717 w 1095"/>
              <a:gd name="T21" fmla="*/ 1057 h 1094"/>
              <a:gd name="T22" fmla="*/ 970 w 1095"/>
              <a:gd name="T23" fmla="*/ 1043 h 1094"/>
              <a:gd name="T24" fmla="*/ 975 w 1095"/>
              <a:gd name="T25" fmla="*/ 1039 h 1094"/>
              <a:gd name="T26" fmla="*/ 991 w 1095"/>
              <a:gd name="T27" fmla="*/ 1027 h 1094"/>
              <a:gd name="T28" fmla="*/ 996 w 1095"/>
              <a:gd name="T29" fmla="*/ 1023 h 1094"/>
              <a:gd name="T30" fmla="*/ 1010 w 1095"/>
              <a:gd name="T31" fmla="*/ 1010 h 1094"/>
              <a:gd name="T32" fmla="*/ 1015 w 1095"/>
              <a:gd name="T33" fmla="*/ 1005 h 1094"/>
              <a:gd name="T34" fmla="*/ 1028 w 1095"/>
              <a:gd name="T35" fmla="*/ 990 h 1094"/>
              <a:gd name="T36" fmla="*/ 1036 w 1095"/>
              <a:gd name="T37" fmla="*/ 980 h 1094"/>
              <a:gd name="T38" fmla="*/ 1044 w 1095"/>
              <a:gd name="T39" fmla="*/ 969 h 1094"/>
              <a:gd name="T40" fmla="*/ 1054 w 1095"/>
              <a:gd name="T41" fmla="*/ 953 h 1094"/>
              <a:gd name="T42" fmla="*/ 1052 w 1095"/>
              <a:gd name="T43" fmla="*/ 706 h 1094"/>
              <a:gd name="T44" fmla="*/ 1049 w 1095"/>
              <a:gd name="T45" fmla="*/ 700 h 1094"/>
              <a:gd name="T46" fmla="*/ 1043 w 1095"/>
              <a:gd name="T47" fmla="*/ 690 h 1094"/>
              <a:gd name="T48" fmla="*/ 1039 w 1095"/>
              <a:gd name="T49" fmla="*/ 685 h 1094"/>
              <a:gd name="T50" fmla="*/ 1031 w 1095"/>
              <a:gd name="T51" fmla="*/ 675 h 1094"/>
              <a:gd name="T52" fmla="*/ 1028 w 1095"/>
              <a:gd name="T53" fmla="*/ 670 h 1094"/>
              <a:gd name="T54" fmla="*/ 1019 w 1095"/>
              <a:gd name="T55" fmla="*/ 660 h 1094"/>
              <a:gd name="T56" fmla="*/ 1015 w 1095"/>
              <a:gd name="T57" fmla="*/ 655 h 1094"/>
              <a:gd name="T58" fmla="*/ 1010 w 1095"/>
              <a:gd name="T59" fmla="*/ 650 h 1094"/>
              <a:gd name="T60" fmla="*/ 1005 w 1095"/>
              <a:gd name="T61" fmla="*/ 646 h 1094"/>
              <a:gd name="T62" fmla="*/ 548 w 1095"/>
              <a:gd name="T63" fmla="*/ 314 h 1094"/>
              <a:gd name="T64" fmla="*/ 450 w 1095"/>
              <a:gd name="T65" fmla="*/ 90 h 1094"/>
              <a:gd name="T66" fmla="*/ 444 w 1095"/>
              <a:gd name="T67" fmla="*/ 84 h 1094"/>
              <a:gd name="T68" fmla="*/ 435 w 1095"/>
              <a:gd name="T69" fmla="*/ 75 h 1094"/>
              <a:gd name="T70" fmla="*/ 430 w 1095"/>
              <a:gd name="T71" fmla="*/ 71 h 1094"/>
              <a:gd name="T72" fmla="*/ 420 w 1095"/>
              <a:gd name="T73" fmla="*/ 63 h 1094"/>
              <a:gd name="T74" fmla="*/ 415 w 1095"/>
              <a:gd name="T75" fmla="*/ 59 h 1094"/>
              <a:gd name="T76" fmla="*/ 405 w 1095"/>
              <a:gd name="T77" fmla="*/ 52 h 1094"/>
              <a:gd name="T78" fmla="*/ 400 w 1095"/>
              <a:gd name="T79" fmla="*/ 49 h 1094"/>
              <a:gd name="T80" fmla="*/ 389 w 1095"/>
              <a:gd name="T81" fmla="*/ 42 h 1094"/>
              <a:gd name="T82" fmla="*/ 378 w 1095"/>
              <a:gd name="T83" fmla="*/ 37 h 1094"/>
              <a:gd name="T84" fmla="*/ 126 w 1095"/>
              <a:gd name="T85" fmla="*/ 51 h 1094"/>
              <a:gd name="T86" fmla="*/ 120 w 1095"/>
              <a:gd name="T87" fmla="*/ 55 h 1094"/>
              <a:gd name="T88" fmla="*/ 105 w 1095"/>
              <a:gd name="T89" fmla="*/ 66 h 1094"/>
              <a:gd name="T90" fmla="*/ 100 w 1095"/>
              <a:gd name="T91" fmla="*/ 71 h 1094"/>
              <a:gd name="T92" fmla="*/ 85 w 1095"/>
              <a:gd name="T93" fmla="*/ 84 h 1094"/>
              <a:gd name="T94" fmla="*/ 80 w 1095"/>
              <a:gd name="T95" fmla="*/ 89 h 1094"/>
              <a:gd name="T96" fmla="*/ 67 w 1095"/>
              <a:gd name="T97" fmla="*/ 104 h 1094"/>
              <a:gd name="T98" fmla="*/ 59 w 1095"/>
              <a:gd name="T99" fmla="*/ 114 h 1094"/>
              <a:gd name="T100" fmla="*/ 52 w 1095"/>
              <a:gd name="T101" fmla="*/ 125 h 1094"/>
              <a:gd name="T102" fmla="*/ 42 w 1095"/>
              <a:gd name="T103" fmla="*/ 141 h 1094"/>
              <a:gd name="T104" fmla="*/ 43 w 1095"/>
              <a:gd name="T105" fmla="*/ 388 h 1094"/>
              <a:gd name="T106" fmla="*/ 46 w 1095"/>
              <a:gd name="T107" fmla="*/ 393 h 1094"/>
              <a:gd name="T108" fmla="*/ 53 w 1095"/>
              <a:gd name="T109" fmla="*/ 404 h 1094"/>
              <a:gd name="T110" fmla="*/ 56 w 1095"/>
              <a:gd name="T111" fmla="*/ 409 h 1094"/>
              <a:gd name="T112" fmla="*/ 64 w 1095"/>
              <a:gd name="T113" fmla="*/ 419 h 1094"/>
              <a:gd name="T114" fmla="*/ 68 w 1095"/>
              <a:gd name="T115" fmla="*/ 424 h 1094"/>
              <a:gd name="T116" fmla="*/ 76 w 1095"/>
              <a:gd name="T117" fmla="*/ 434 h 1094"/>
              <a:gd name="T118" fmla="*/ 80 w 1095"/>
              <a:gd name="T119" fmla="*/ 439 h 1094"/>
              <a:gd name="T120" fmla="*/ 85 w 1095"/>
              <a:gd name="T121" fmla="*/ 443 h 1094"/>
              <a:gd name="T122" fmla="*/ 96 w 1095"/>
              <a:gd name="T123" fmla="*/ 454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95" h="1094">
                <a:moveTo>
                  <a:pt x="315" y="547"/>
                </a:moveTo>
                <a:cubicBezTo>
                  <a:pt x="359" y="565"/>
                  <a:pt x="404" y="592"/>
                  <a:pt x="453" y="639"/>
                </a:cubicBezTo>
                <a:cubicBezTo>
                  <a:pt x="502" y="689"/>
                  <a:pt x="529" y="736"/>
                  <a:pt x="548" y="781"/>
                </a:cubicBezTo>
                <a:cubicBezTo>
                  <a:pt x="578" y="860"/>
                  <a:pt x="581" y="932"/>
                  <a:pt x="641" y="999"/>
                </a:cubicBezTo>
                <a:cubicBezTo>
                  <a:pt x="642" y="1000"/>
                  <a:pt x="643" y="1001"/>
                  <a:pt x="644" y="1002"/>
                </a:cubicBezTo>
                <a:cubicBezTo>
                  <a:pt x="646" y="1004"/>
                  <a:pt x="646" y="1004"/>
                  <a:pt x="646" y="1004"/>
                </a:cubicBezTo>
                <a:cubicBezTo>
                  <a:pt x="648" y="1006"/>
                  <a:pt x="649" y="1008"/>
                  <a:pt x="651" y="1010"/>
                </a:cubicBezTo>
                <a:cubicBezTo>
                  <a:pt x="651" y="1010"/>
                  <a:pt x="651" y="1010"/>
                  <a:pt x="651" y="1010"/>
                </a:cubicBezTo>
                <a:cubicBezTo>
                  <a:pt x="651" y="1010"/>
                  <a:pt x="651" y="1010"/>
                  <a:pt x="651" y="1010"/>
                </a:cubicBezTo>
                <a:cubicBezTo>
                  <a:pt x="653" y="1011"/>
                  <a:pt x="654" y="1013"/>
                  <a:pt x="656" y="1014"/>
                </a:cubicBezTo>
                <a:cubicBezTo>
                  <a:pt x="656" y="1014"/>
                  <a:pt x="656" y="1014"/>
                  <a:pt x="656" y="1014"/>
                </a:cubicBezTo>
                <a:cubicBezTo>
                  <a:pt x="658" y="1016"/>
                  <a:pt x="659" y="1017"/>
                  <a:pt x="661" y="1019"/>
                </a:cubicBezTo>
                <a:cubicBezTo>
                  <a:pt x="661" y="1019"/>
                  <a:pt x="661" y="1019"/>
                  <a:pt x="661" y="1019"/>
                </a:cubicBezTo>
                <a:cubicBezTo>
                  <a:pt x="662" y="1020"/>
                  <a:pt x="664" y="1021"/>
                  <a:pt x="666" y="1023"/>
                </a:cubicBezTo>
                <a:cubicBezTo>
                  <a:pt x="666" y="1023"/>
                  <a:pt x="666" y="1023"/>
                  <a:pt x="666" y="1023"/>
                </a:cubicBezTo>
                <a:cubicBezTo>
                  <a:pt x="667" y="1024"/>
                  <a:pt x="669" y="1026"/>
                  <a:pt x="670" y="1027"/>
                </a:cubicBezTo>
                <a:cubicBezTo>
                  <a:pt x="670" y="1027"/>
                  <a:pt x="670" y="1027"/>
                  <a:pt x="670" y="1027"/>
                </a:cubicBezTo>
                <a:cubicBezTo>
                  <a:pt x="672" y="1028"/>
                  <a:pt x="674" y="1029"/>
                  <a:pt x="675" y="1031"/>
                </a:cubicBezTo>
                <a:cubicBezTo>
                  <a:pt x="675" y="1031"/>
                  <a:pt x="675" y="1031"/>
                  <a:pt x="675" y="1031"/>
                </a:cubicBezTo>
                <a:cubicBezTo>
                  <a:pt x="677" y="1032"/>
                  <a:pt x="679" y="1033"/>
                  <a:pt x="680" y="1035"/>
                </a:cubicBezTo>
                <a:cubicBezTo>
                  <a:pt x="680" y="1035"/>
                  <a:pt x="680" y="1035"/>
                  <a:pt x="680" y="1035"/>
                </a:cubicBezTo>
                <a:cubicBezTo>
                  <a:pt x="682" y="1036"/>
                  <a:pt x="684" y="1037"/>
                  <a:pt x="685" y="1038"/>
                </a:cubicBezTo>
                <a:cubicBezTo>
                  <a:pt x="685" y="1038"/>
                  <a:pt x="685" y="1038"/>
                  <a:pt x="685" y="1038"/>
                </a:cubicBezTo>
                <a:cubicBezTo>
                  <a:pt x="687" y="1039"/>
                  <a:pt x="689" y="1041"/>
                  <a:pt x="691" y="1042"/>
                </a:cubicBezTo>
                <a:cubicBezTo>
                  <a:pt x="691" y="1042"/>
                  <a:pt x="691" y="1042"/>
                  <a:pt x="691" y="1042"/>
                </a:cubicBezTo>
                <a:cubicBezTo>
                  <a:pt x="692" y="1043"/>
                  <a:pt x="694" y="1044"/>
                  <a:pt x="696" y="1045"/>
                </a:cubicBezTo>
                <a:cubicBezTo>
                  <a:pt x="696" y="1045"/>
                  <a:pt x="696" y="1045"/>
                  <a:pt x="696" y="1045"/>
                </a:cubicBezTo>
                <a:cubicBezTo>
                  <a:pt x="698" y="1046"/>
                  <a:pt x="699" y="1047"/>
                  <a:pt x="701" y="1048"/>
                </a:cubicBezTo>
                <a:cubicBezTo>
                  <a:pt x="701" y="1048"/>
                  <a:pt x="701" y="1048"/>
                  <a:pt x="701" y="1048"/>
                </a:cubicBezTo>
                <a:cubicBezTo>
                  <a:pt x="703" y="1049"/>
                  <a:pt x="705" y="1050"/>
                  <a:pt x="706" y="1051"/>
                </a:cubicBezTo>
                <a:cubicBezTo>
                  <a:pt x="706" y="1051"/>
                  <a:pt x="706" y="1051"/>
                  <a:pt x="706" y="1051"/>
                </a:cubicBezTo>
                <a:cubicBezTo>
                  <a:pt x="710" y="1054"/>
                  <a:pt x="714" y="1055"/>
                  <a:pt x="717" y="1057"/>
                </a:cubicBezTo>
                <a:cubicBezTo>
                  <a:pt x="717" y="1057"/>
                  <a:pt x="717" y="1057"/>
                  <a:pt x="717" y="1057"/>
                </a:cubicBezTo>
                <a:cubicBezTo>
                  <a:pt x="791" y="1094"/>
                  <a:pt x="880" y="1094"/>
                  <a:pt x="953" y="1053"/>
                </a:cubicBezTo>
                <a:cubicBezTo>
                  <a:pt x="953" y="1053"/>
                  <a:pt x="953" y="1053"/>
                  <a:pt x="953" y="1053"/>
                </a:cubicBezTo>
                <a:cubicBezTo>
                  <a:pt x="959" y="1050"/>
                  <a:pt x="965" y="1046"/>
                  <a:pt x="970" y="1043"/>
                </a:cubicBezTo>
                <a:cubicBezTo>
                  <a:pt x="970" y="1043"/>
                  <a:pt x="970" y="1043"/>
                  <a:pt x="970" y="1043"/>
                </a:cubicBezTo>
                <a:cubicBezTo>
                  <a:pt x="972" y="1042"/>
                  <a:pt x="973" y="1040"/>
                  <a:pt x="975" y="1039"/>
                </a:cubicBezTo>
                <a:cubicBezTo>
                  <a:pt x="975" y="1039"/>
                  <a:pt x="975" y="1039"/>
                  <a:pt x="975" y="1039"/>
                </a:cubicBezTo>
                <a:cubicBezTo>
                  <a:pt x="977" y="1038"/>
                  <a:pt x="979" y="1037"/>
                  <a:pt x="980" y="1035"/>
                </a:cubicBezTo>
                <a:cubicBezTo>
                  <a:pt x="980" y="1035"/>
                  <a:pt x="980" y="1035"/>
                  <a:pt x="980" y="1035"/>
                </a:cubicBezTo>
                <a:cubicBezTo>
                  <a:pt x="984" y="1033"/>
                  <a:pt x="987" y="1030"/>
                  <a:pt x="991" y="1027"/>
                </a:cubicBezTo>
                <a:cubicBezTo>
                  <a:pt x="991" y="1027"/>
                  <a:pt x="991" y="1027"/>
                  <a:pt x="991" y="1027"/>
                </a:cubicBezTo>
                <a:cubicBezTo>
                  <a:pt x="993" y="1026"/>
                  <a:pt x="994" y="1025"/>
                  <a:pt x="996" y="1023"/>
                </a:cubicBezTo>
                <a:cubicBezTo>
                  <a:pt x="996" y="1023"/>
                  <a:pt x="996" y="1023"/>
                  <a:pt x="996" y="1023"/>
                </a:cubicBezTo>
                <a:cubicBezTo>
                  <a:pt x="999" y="1020"/>
                  <a:pt x="1002" y="1017"/>
                  <a:pt x="1006" y="1014"/>
                </a:cubicBezTo>
                <a:cubicBezTo>
                  <a:pt x="1006" y="1014"/>
                  <a:pt x="1006" y="1014"/>
                  <a:pt x="1006" y="1014"/>
                </a:cubicBezTo>
                <a:cubicBezTo>
                  <a:pt x="1007" y="1013"/>
                  <a:pt x="1009" y="1011"/>
                  <a:pt x="1010" y="1010"/>
                </a:cubicBezTo>
                <a:cubicBezTo>
                  <a:pt x="1010" y="1010"/>
                  <a:pt x="1010" y="1010"/>
                  <a:pt x="1010" y="1010"/>
                </a:cubicBezTo>
                <a:cubicBezTo>
                  <a:pt x="1012" y="1008"/>
                  <a:pt x="1014" y="1006"/>
                  <a:pt x="1015" y="1005"/>
                </a:cubicBezTo>
                <a:cubicBezTo>
                  <a:pt x="1015" y="1005"/>
                  <a:pt x="1015" y="1005"/>
                  <a:pt x="1015" y="1005"/>
                </a:cubicBezTo>
                <a:cubicBezTo>
                  <a:pt x="1018" y="1002"/>
                  <a:pt x="1021" y="998"/>
                  <a:pt x="1024" y="995"/>
                </a:cubicBezTo>
                <a:cubicBezTo>
                  <a:pt x="1024" y="995"/>
                  <a:pt x="1024" y="995"/>
                  <a:pt x="1024" y="995"/>
                </a:cubicBezTo>
                <a:cubicBezTo>
                  <a:pt x="1026" y="993"/>
                  <a:pt x="1027" y="992"/>
                  <a:pt x="1028" y="990"/>
                </a:cubicBezTo>
                <a:cubicBezTo>
                  <a:pt x="1028" y="990"/>
                  <a:pt x="1028" y="990"/>
                  <a:pt x="1028" y="990"/>
                </a:cubicBezTo>
                <a:cubicBezTo>
                  <a:pt x="1031" y="987"/>
                  <a:pt x="1034" y="983"/>
                  <a:pt x="1036" y="980"/>
                </a:cubicBezTo>
                <a:cubicBezTo>
                  <a:pt x="1036" y="980"/>
                  <a:pt x="1036" y="980"/>
                  <a:pt x="1036" y="980"/>
                </a:cubicBezTo>
                <a:cubicBezTo>
                  <a:pt x="1038" y="978"/>
                  <a:pt x="1039" y="976"/>
                  <a:pt x="1040" y="974"/>
                </a:cubicBezTo>
                <a:cubicBezTo>
                  <a:pt x="1040" y="974"/>
                  <a:pt x="1040" y="974"/>
                  <a:pt x="1040" y="974"/>
                </a:cubicBezTo>
                <a:cubicBezTo>
                  <a:pt x="1041" y="973"/>
                  <a:pt x="1042" y="971"/>
                  <a:pt x="1044" y="969"/>
                </a:cubicBezTo>
                <a:cubicBezTo>
                  <a:pt x="1044" y="969"/>
                  <a:pt x="1044" y="969"/>
                  <a:pt x="1044" y="969"/>
                </a:cubicBezTo>
                <a:cubicBezTo>
                  <a:pt x="1047" y="964"/>
                  <a:pt x="1050" y="958"/>
                  <a:pt x="1054" y="953"/>
                </a:cubicBezTo>
                <a:cubicBezTo>
                  <a:pt x="1054" y="953"/>
                  <a:pt x="1054" y="953"/>
                  <a:pt x="1054" y="953"/>
                </a:cubicBezTo>
                <a:cubicBezTo>
                  <a:pt x="1095" y="879"/>
                  <a:pt x="1095" y="790"/>
                  <a:pt x="1058" y="717"/>
                </a:cubicBezTo>
                <a:cubicBezTo>
                  <a:pt x="1058" y="717"/>
                  <a:pt x="1058" y="717"/>
                  <a:pt x="1058" y="717"/>
                </a:cubicBezTo>
                <a:cubicBezTo>
                  <a:pt x="1056" y="713"/>
                  <a:pt x="1054" y="709"/>
                  <a:pt x="1052" y="706"/>
                </a:cubicBezTo>
                <a:cubicBezTo>
                  <a:pt x="1052" y="706"/>
                  <a:pt x="1052" y="706"/>
                  <a:pt x="1052" y="706"/>
                </a:cubicBezTo>
                <a:cubicBezTo>
                  <a:pt x="1051" y="704"/>
                  <a:pt x="1050" y="702"/>
                  <a:pt x="1049" y="700"/>
                </a:cubicBezTo>
                <a:cubicBezTo>
                  <a:pt x="1049" y="700"/>
                  <a:pt x="1049" y="700"/>
                  <a:pt x="1049" y="700"/>
                </a:cubicBezTo>
                <a:cubicBezTo>
                  <a:pt x="1048" y="699"/>
                  <a:pt x="1047" y="697"/>
                  <a:pt x="1046" y="695"/>
                </a:cubicBezTo>
                <a:cubicBezTo>
                  <a:pt x="1046" y="695"/>
                  <a:pt x="1046" y="695"/>
                  <a:pt x="1046" y="695"/>
                </a:cubicBezTo>
                <a:cubicBezTo>
                  <a:pt x="1045" y="693"/>
                  <a:pt x="1044" y="691"/>
                  <a:pt x="1043" y="690"/>
                </a:cubicBezTo>
                <a:cubicBezTo>
                  <a:pt x="1043" y="690"/>
                  <a:pt x="1043" y="690"/>
                  <a:pt x="1043" y="690"/>
                </a:cubicBezTo>
                <a:cubicBezTo>
                  <a:pt x="1041" y="688"/>
                  <a:pt x="1040" y="686"/>
                  <a:pt x="1039" y="685"/>
                </a:cubicBezTo>
                <a:cubicBezTo>
                  <a:pt x="1039" y="685"/>
                  <a:pt x="1039" y="685"/>
                  <a:pt x="1039" y="685"/>
                </a:cubicBezTo>
                <a:cubicBezTo>
                  <a:pt x="1038" y="683"/>
                  <a:pt x="1037" y="681"/>
                  <a:pt x="1035" y="679"/>
                </a:cubicBezTo>
                <a:cubicBezTo>
                  <a:pt x="1035" y="679"/>
                  <a:pt x="1035" y="679"/>
                  <a:pt x="1035" y="679"/>
                </a:cubicBezTo>
                <a:cubicBezTo>
                  <a:pt x="1034" y="678"/>
                  <a:pt x="1033" y="676"/>
                  <a:pt x="1031" y="675"/>
                </a:cubicBezTo>
                <a:cubicBezTo>
                  <a:pt x="1031" y="675"/>
                  <a:pt x="1031" y="675"/>
                  <a:pt x="1031" y="675"/>
                </a:cubicBezTo>
                <a:cubicBezTo>
                  <a:pt x="1030" y="673"/>
                  <a:pt x="1029" y="671"/>
                  <a:pt x="1028" y="670"/>
                </a:cubicBezTo>
                <a:cubicBezTo>
                  <a:pt x="1028" y="670"/>
                  <a:pt x="1028" y="670"/>
                  <a:pt x="1028" y="670"/>
                </a:cubicBezTo>
                <a:cubicBezTo>
                  <a:pt x="1026" y="668"/>
                  <a:pt x="1025" y="666"/>
                  <a:pt x="1023" y="665"/>
                </a:cubicBezTo>
                <a:cubicBezTo>
                  <a:pt x="1023" y="665"/>
                  <a:pt x="1023" y="665"/>
                  <a:pt x="1023" y="665"/>
                </a:cubicBezTo>
                <a:cubicBezTo>
                  <a:pt x="1022" y="663"/>
                  <a:pt x="1021" y="662"/>
                  <a:pt x="1019" y="660"/>
                </a:cubicBezTo>
                <a:cubicBezTo>
                  <a:pt x="1019" y="660"/>
                  <a:pt x="1019" y="660"/>
                  <a:pt x="1019" y="660"/>
                </a:cubicBezTo>
                <a:cubicBezTo>
                  <a:pt x="1018" y="658"/>
                  <a:pt x="1016" y="657"/>
                  <a:pt x="1015" y="655"/>
                </a:cubicBezTo>
                <a:cubicBezTo>
                  <a:pt x="1015" y="655"/>
                  <a:pt x="1015" y="655"/>
                  <a:pt x="1015" y="655"/>
                </a:cubicBezTo>
                <a:cubicBezTo>
                  <a:pt x="1013" y="654"/>
                  <a:pt x="1012" y="652"/>
                  <a:pt x="1010" y="651"/>
                </a:cubicBezTo>
                <a:cubicBezTo>
                  <a:pt x="1010" y="651"/>
                  <a:pt x="1010" y="651"/>
                  <a:pt x="1010" y="651"/>
                </a:cubicBezTo>
                <a:cubicBezTo>
                  <a:pt x="1010" y="650"/>
                  <a:pt x="1010" y="650"/>
                  <a:pt x="1010" y="650"/>
                </a:cubicBezTo>
                <a:cubicBezTo>
                  <a:pt x="1009" y="649"/>
                  <a:pt x="1008" y="648"/>
                  <a:pt x="1008" y="648"/>
                </a:cubicBezTo>
                <a:cubicBezTo>
                  <a:pt x="1007" y="647"/>
                  <a:pt x="1006" y="646"/>
                  <a:pt x="1005" y="646"/>
                </a:cubicBezTo>
                <a:cubicBezTo>
                  <a:pt x="1005" y="646"/>
                  <a:pt x="1005" y="646"/>
                  <a:pt x="1005" y="646"/>
                </a:cubicBezTo>
                <a:cubicBezTo>
                  <a:pt x="937" y="581"/>
                  <a:pt x="863" y="578"/>
                  <a:pt x="782" y="547"/>
                </a:cubicBezTo>
                <a:cubicBezTo>
                  <a:pt x="737" y="529"/>
                  <a:pt x="690" y="502"/>
                  <a:pt x="640" y="453"/>
                </a:cubicBezTo>
                <a:cubicBezTo>
                  <a:pt x="593" y="404"/>
                  <a:pt x="566" y="358"/>
                  <a:pt x="548" y="314"/>
                </a:cubicBezTo>
                <a:cubicBezTo>
                  <a:pt x="518" y="235"/>
                  <a:pt x="515" y="162"/>
                  <a:pt x="454" y="95"/>
                </a:cubicBezTo>
                <a:cubicBezTo>
                  <a:pt x="453" y="94"/>
                  <a:pt x="452" y="93"/>
                  <a:pt x="451" y="92"/>
                </a:cubicBezTo>
                <a:cubicBezTo>
                  <a:pt x="450" y="90"/>
                  <a:pt x="450" y="90"/>
                  <a:pt x="450" y="90"/>
                </a:cubicBezTo>
                <a:cubicBezTo>
                  <a:pt x="448" y="88"/>
                  <a:pt x="446" y="86"/>
                  <a:pt x="444" y="84"/>
                </a:cubicBezTo>
                <a:cubicBezTo>
                  <a:pt x="444" y="84"/>
                  <a:pt x="444" y="84"/>
                  <a:pt x="444" y="84"/>
                </a:cubicBezTo>
                <a:cubicBezTo>
                  <a:pt x="444" y="84"/>
                  <a:pt x="444" y="84"/>
                  <a:pt x="444" y="84"/>
                </a:cubicBezTo>
                <a:cubicBezTo>
                  <a:pt x="443" y="83"/>
                  <a:pt x="441" y="81"/>
                  <a:pt x="439" y="80"/>
                </a:cubicBezTo>
                <a:cubicBezTo>
                  <a:pt x="439" y="80"/>
                  <a:pt x="439" y="80"/>
                  <a:pt x="439" y="80"/>
                </a:cubicBezTo>
                <a:cubicBezTo>
                  <a:pt x="438" y="78"/>
                  <a:pt x="436" y="77"/>
                  <a:pt x="435" y="75"/>
                </a:cubicBezTo>
                <a:cubicBezTo>
                  <a:pt x="435" y="75"/>
                  <a:pt x="435" y="75"/>
                  <a:pt x="435" y="75"/>
                </a:cubicBezTo>
                <a:cubicBezTo>
                  <a:pt x="433" y="74"/>
                  <a:pt x="432" y="73"/>
                  <a:pt x="430" y="71"/>
                </a:cubicBezTo>
                <a:cubicBezTo>
                  <a:pt x="430" y="71"/>
                  <a:pt x="430" y="71"/>
                  <a:pt x="430" y="71"/>
                </a:cubicBezTo>
                <a:cubicBezTo>
                  <a:pt x="428" y="70"/>
                  <a:pt x="427" y="68"/>
                  <a:pt x="425" y="67"/>
                </a:cubicBezTo>
                <a:cubicBezTo>
                  <a:pt x="425" y="67"/>
                  <a:pt x="425" y="67"/>
                  <a:pt x="425" y="67"/>
                </a:cubicBezTo>
                <a:cubicBezTo>
                  <a:pt x="423" y="66"/>
                  <a:pt x="422" y="64"/>
                  <a:pt x="420" y="63"/>
                </a:cubicBezTo>
                <a:cubicBezTo>
                  <a:pt x="420" y="63"/>
                  <a:pt x="420" y="63"/>
                  <a:pt x="420" y="63"/>
                </a:cubicBezTo>
                <a:cubicBezTo>
                  <a:pt x="419" y="62"/>
                  <a:pt x="417" y="61"/>
                  <a:pt x="415" y="59"/>
                </a:cubicBezTo>
                <a:cubicBezTo>
                  <a:pt x="415" y="59"/>
                  <a:pt x="415" y="59"/>
                  <a:pt x="415" y="59"/>
                </a:cubicBezTo>
                <a:cubicBezTo>
                  <a:pt x="414" y="58"/>
                  <a:pt x="412" y="57"/>
                  <a:pt x="410" y="56"/>
                </a:cubicBezTo>
                <a:cubicBezTo>
                  <a:pt x="410" y="56"/>
                  <a:pt x="410" y="56"/>
                  <a:pt x="410" y="56"/>
                </a:cubicBezTo>
                <a:cubicBezTo>
                  <a:pt x="408" y="55"/>
                  <a:pt x="407" y="53"/>
                  <a:pt x="405" y="52"/>
                </a:cubicBezTo>
                <a:cubicBezTo>
                  <a:pt x="405" y="52"/>
                  <a:pt x="405" y="52"/>
                  <a:pt x="405" y="52"/>
                </a:cubicBezTo>
                <a:cubicBezTo>
                  <a:pt x="403" y="51"/>
                  <a:pt x="401" y="50"/>
                  <a:pt x="400" y="49"/>
                </a:cubicBezTo>
                <a:cubicBezTo>
                  <a:pt x="400" y="49"/>
                  <a:pt x="400" y="49"/>
                  <a:pt x="400" y="49"/>
                </a:cubicBezTo>
                <a:cubicBezTo>
                  <a:pt x="398" y="48"/>
                  <a:pt x="396" y="47"/>
                  <a:pt x="394" y="45"/>
                </a:cubicBezTo>
                <a:cubicBezTo>
                  <a:pt x="394" y="45"/>
                  <a:pt x="394" y="45"/>
                  <a:pt x="394" y="45"/>
                </a:cubicBezTo>
                <a:cubicBezTo>
                  <a:pt x="393" y="44"/>
                  <a:pt x="391" y="43"/>
                  <a:pt x="389" y="42"/>
                </a:cubicBezTo>
                <a:cubicBezTo>
                  <a:pt x="389" y="42"/>
                  <a:pt x="389" y="42"/>
                  <a:pt x="389" y="42"/>
                </a:cubicBezTo>
                <a:cubicBezTo>
                  <a:pt x="385" y="40"/>
                  <a:pt x="382" y="38"/>
                  <a:pt x="378" y="37"/>
                </a:cubicBezTo>
                <a:cubicBezTo>
                  <a:pt x="378" y="37"/>
                  <a:pt x="378" y="37"/>
                  <a:pt x="378" y="37"/>
                </a:cubicBezTo>
                <a:cubicBezTo>
                  <a:pt x="305" y="0"/>
                  <a:pt x="216" y="0"/>
                  <a:pt x="142" y="41"/>
                </a:cubicBezTo>
                <a:cubicBezTo>
                  <a:pt x="142" y="41"/>
                  <a:pt x="142" y="41"/>
                  <a:pt x="142" y="41"/>
                </a:cubicBezTo>
                <a:cubicBezTo>
                  <a:pt x="136" y="44"/>
                  <a:pt x="131" y="48"/>
                  <a:pt x="126" y="51"/>
                </a:cubicBezTo>
                <a:cubicBezTo>
                  <a:pt x="126" y="51"/>
                  <a:pt x="126" y="51"/>
                  <a:pt x="126" y="51"/>
                </a:cubicBezTo>
                <a:cubicBezTo>
                  <a:pt x="124" y="52"/>
                  <a:pt x="122" y="53"/>
                  <a:pt x="120" y="55"/>
                </a:cubicBezTo>
                <a:cubicBezTo>
                  <a:pt x="120" y="55"/>
                  <a:pt x="120" y="55"/>
                  <a:pt x="120" y="55"/>
                </a:cubicBezTo>
                <a:cubicBezTo>
                  <a:pt x="119" y="56"/>
                  <a:pt x="117" y="57"/>
                  <a:pt x="115" y="58"/>
                </a:cubicBezTo>
                <a:cubicBezTo>
                  <a:pt x="115" y="58"/>
                  <a:pt x="115" y="58"/>
                  <a:pt x="115" y="58"/>
                </a:cubicBezTo>
                <a:cubicBezTo>
                  <a:pt x="112" y="61"/>
                  <a:pt x="108" y="64"/>
                  <a:pt x="105" y="66"/>
                </a:cubicBezTo>
                <a:cubicBezTo>
                  <a:pt x="105" y="66"/>
                  <a:pt x="105" y="66"/>
                  <a:pt x="105" y="66"/>
                </a:cubicBezTo>
                <a:cubicBezTo>
                  <a:pt x="103" y="68"/>
                  <a:pt x="101" y="69"/>
                  <a:pt x="100" y="71"/>
                </a:cubicBezTo>
                <a:cubicBezTo>
                  <a:pt x="100" y="71"/>
                  <a:pt x="100" y="71"/>
                  <a:pt x="100" y="71"/>
                </a:cubicBezTo>
                <a:cubicBezTo>
                  <a:pt x="96" y="73"/>
                  <a:pt x="93" y="76"/>
                  <a:pt x="90" y="80"/>
                </a:cubicBezTo>
                <a:cubicBezTo>
                  <a:pt x="90" y="80"/>
                  <a:pt x="90" y="80"/>
                  <a:pt x="90" y="80"/>
                </a:cubicBezTo>
                <a:cubicBezTo>
                  <a:pt x="88" y="81"/>
                  <a:pt x="87" y="83"/>
                  <a:pt x="85" y="84"/>
                </a:cubicBezTo>
                <a:cubicBezTo>
                  <a:pt x="85" y="84"/>
                  <a:pt x="85" y="84"/>
                  <a:pt x="85" y="84"/>
                </a:cubicBezTo>
                <a:cubicBezTo>
                  <a:pt x="83" y="86"/>
                  <a:pt x="82" y="87"/>
                  <a:pt x="80" y="89"/>
                </a:cubicBezTo>
                <a:cubicBezTo>
                  <a:pt x="80" y="89"/>
                  <a:pt x="80" y="89"/>
                  <a:pt x="80" y="89"/>
                </a:cubicBezTo>
                <a:cubicBezTo>
                  <a:pt x="77" y="92"/>
                  <a:pt x="74" y="96"/>
                  <a:pt x="71" y="99"/>
                </a:cubicBezTo>
                <a:cubicBezTo>
                  <a:pt x="71" y="99"/>
                  <a:pt x="71" y="99"/>
                  <a:pt x="71" y="99"/>
                </a:cubicBezTo>
                <a:cubicBezTo>
                  <a:pt x="70" y="101"/>
                  <a:pt x="69" y="102"/>
                  <a:pt x="67" y="104"/>
                </a:cubicBezTo>
                <a:cubicBezTo>
                  <a:pt x="67" y="104"/>
                  <a:pt x="67" y="104"/>
                  <a:pt x="67" y="104"/>
                </a:cubicBezTo>
                <a:cubicBezTo>
                  <a:pt x="64" y="107"/>
                  <a:pt x="62" y="111"/>
                  <a:pt x="59" y="114"/>
                </a:cubicBezTo>
                <a:cubicBezTo>
                  <a:pt x="59" y="114"/>
                  <a:pt x="59" y="114"/>
                  <a:pt x="59" y="114"/>
                </a:cubicBezTo>
                <a:cubicBezTo>
                  <a:pt x="58" y="116"/>
                  <a:pt x="57" y="118"/>
                  <a:pt x="55" y="120"/>
                </a:cubicBezTo>
                <a:cubicBezTo>
                  <a:pt x="55" y="120"/>
                  <a:pt x="55" y="120"/>
                  <a:pt x="55" y="120"/>
                </a:cubicBezTo>
                <a:cubicBezTo>
                  <a:pt x="54" y="121"/>
                  <a:pt x="53" y="123"/>
                  <a:pt x="52" y="125"/>
                </a:cubicBezTo>
                <a:cubicBezTo>
                  <a:pt x="52" y="125"/>
                  <a:pt x="52" y="125"/>
                  <a:pt x="52" y="125"/>
                </a:cubicBezTo>
                <a:cubicBezTo>
                  <a:pt x="48" y="130"/>
                  <a:pt x="45" y="136"/>
                  <a:pt x="42" y="141"/>
                </a:cubicBezTo>
                <a:cubicBezTo>
                  <a:pt x="42" y="141"/>
                  <a:pt x="42" y="141"/>
                  <a:pt x="42" y="141"/>
                </a:cubicBezTo>
                <a:cubicBezTo>
                  <a:pt x="1" y="215"/>
                  <a:pt x="0" y="304"/>
                  <a:pt x="37" y="377"/>
                </a:cubicBezTo>
                <a:cubicBezTo>
                  <a:pt x="37" y="377"/>
                  <a:pt x="37" y="377"/>
                  <a:pt x="37" y="377"/>
                </a:cubicBezTo>
                <a:cubicBezTo>
                  <a:pt x="39" y="381"/>
                  <a:pt x="41" y="385"/>
                  <a:pt x="43" y="388"/>
                </a:cubicBezTo>
                <a:cubicBezTo>
                  <a:pt x="43" y="388"/>
                  <a:pt x="43" y="388"/>
                  <a:pt x="43" y="388"/>
                </a:cubicBezTo>
                <a:cubicBezTo>
                  <a:pt x="44" y="390"/>
                  <a:pt x="45" y="392"/>
                  <a:pt x="46" y="393"/>
                </a:cubicBezTo>
                <a:cubicBezTo>
                  <a:pt x="46" y="393"/>
                  <a:pt x="46" y="393"/>
                  <a:pt x="46" y="393"/>
                </a:cubicBezTo>
                <a:cubicBezTo>
                  <a:pt x="47" y="395"/>
                  <a:pt x="48" y="397"/>
                  <a:pt x="50" y="399"/>
                </a:cubicBezTo>
                <a:cubicBezTo>
                  <a:pt x="50" y="399"/>
                  <a:pt x="50" y="399"/>
                  <a:pt x="50" y="399"/>
                </a:cubicBezTo>
                <a:cubicBezTo>
                  <a:pt x="51" y="401"/>
                  <a:pt x="52" y="402"/>
                  <a:pt x="53" y="404"/>
                </a:cubicBezTo>
                <a:cubicBezTo>
                  <a:pt x="53" y="404"/>
                  <a:pt x="53" y="404"/>
                  <a:pt x="53" y="404"/>
                </a:cubicBezTo>
                <a:cubicBezTo>
                  <a:pt x="54" y="406"/>
                  <a:pt x="55" y="408"/>
                  <a:pt x="56" y="409"/>
                </a:cubicBezTo>
                <a:cubicBezTo>
                  <a:pt x="56" y="409"/>
                  <a:pt x="56" y="409"/>
                  <a:pt x="56" y="409"/>
                </a:cubicBezTo>
                <a:cubicBezTo>
                  <a:pt x="58" y="411"/>
                  <a:pt x="59" y="413"/>
                  <a:pt x="60" y="414"/>
                </a:cubicBezTo>
                <a:cubicBezTo>
                  <a:pt x="60" y="414"/>
                  <a:pt x="60" y="414"/>
                  <a:pt x="60" y="414"/>
                </a:cubicBezTo>
                <a:cubicBezTo>
                  <a:pt x="61" y="416"/>
                  <a:pt x="63" y="418"/>
                  <a:pt x="64" y="419"/>
                </a:cubicBezTo>
                <a:cubicBezTo>
                  <a:pt x="64" y="419"/>
                  <a:pt x="64" y="419"/>
                  <a:pt x="64" y="419"/>
                </a:cubicBezTo>
                <a:cubicBezTo>
                  <a:pt x="65" y="421"/>
                  <a:pt x="67" y="423"/>
                  <a:pt x="68" y="424"/>
                </a:cubicBezTo>
                <a:cubicBezTo>
                  <a:pt x="68" y="424"/>
                  <a:pt x="68" y="424"/>
                  <a:pt x="68" y="424"/>
                </a:cubicBezTo>
                <a:cubicBezTo>
                  <a:pt x="69" y="426"/>
                  <a:pt x="71" y="428"/>
                  <a:pt x="72" y="429"/>
                </a:cubicBezTo>
                <a:cubicBezTo>
                  <a:pt x="72" y="429"/>
                  <a:pt x="72" y="429"/>
                  <a:pt x="72" y="429"/>
                </a:cubicBezTo>
                <a:cubicBezTo>
                  <a:pt x="73" y="431"/>
                  <a:pt x="75" y="432"/>
                  <a:pt x="76" y="434"/>
                </a:cubicBezTo>
                <a:cubicBezTo>
                  <a:pt x="76" y="434"/>
                  <a:pt x="76" y="434"/>
                  <a:pt x="76" y="434"/>
                </a:cubicBezTo>
                <a:cubicBezTo>
                  <a:pt x="78" y="436"/>
                  <a:pt x="79" y="437"/>
                  <a:pt x="80" y="439"/>
                </a:cubicBezTo>
                <a:cubicBezTo>
                  <a:pt x="80" y="439"/>
                  <a:pt x="80" y="439"/>
                  <a:pt x="80" y="439"/>
                </a:cubicBezTo>
                <a:cubicBezTo>
                  <a:pt x="82" y="440"/>
                  <a:pt x="83" y="442"/>
                  <a:pt x="85" y="443"/>
                </a:cubicBezTo>
                <a:cubicBezTo>
                  <a:pt x="85" y="443"/>
                  <a:pt x="85" y="443"/>
                  <a:pt x="85" y="443"/>
                </a:cubicBezTo>
                <a:cubicBezTo>
                  <a:pt x="85" y="443"/>
                  <a:pt x="85" y="443"/>
                  <a:pt x="85" y="443"/>
                </a:cubicBezTo>
                <a:cubicBezTo>
                  <a:pt x="87" y="445"/>
                  <a:pt x="89" y="447"/>
                  <a:pt x="91" y="449"/>
                </a:cubicBezTo>
                <a:cubicBezTo>
                  <a:pt x="91" y="449"/>
                  <a:pt x="92" y="450"/>
                  <a:pt x="92" y="450"/>
                </a:cubicBezTo>
                <a:cubicBezTo>
                  <a:pt x="94" y="452"/>
                  <a:pt x="95" y="453"/>
                  <a:pt x="96" y="454"/>
                </a:cubicBezTo>
                <a:cubicBezTo>
                  <a:pt x="163" y="514"/>
                  <a:pt x="236" y="517"/>
                  <a:pt x="315" y="547"/>
                </a:cubicBezTo>
                <a:close/>
              </a:path>
            </a:pathLst>
          </a:custGeom>
          <a:solidFill>
            <a:schemeClr val="accent1">
              <a:lumMod val="100000"/>
            </a:schemeClr>
          </a:solidFill>
          <a:ln>
            <a:noFill/>
          </a:ln>
          <a:effectLst/>
        </p:spPr>
        <p:txBody>
          <a:bodyPr vert="horz" wrap="square" lIns="42863" tIns="21431" rIns="42863" bIns="21431" numCol="1" anchor="t" anchorCtr="0" compatLnSpc="1">
            <a:prstTxWarp prst="textNoShape">
              <a:avLst/>
            </a:prstTxWarp>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685783">
              <a:defRPr/>
            </a:pPr>
            <a:endParaRPr lang="en-US" sz="1013" b="1">
              <a:solidFill>
                <a:prstClr val="black"/>
              </a:solidFill>
              <a:latin typeface="Franklin Gothic Book" panose="020B0503020102020204"/>
            </a:endParaRPr>
          </a:p>
        </p:txBody>
      </p:sp>
      <p:sp>
        <p:nvSpPr>
          <p:cNvPr id="19" name="Shape2_20210625_204930">
            <a:extLst>
              <a:ext uri="{FF2B5EF4-FFF2-40B4-BE49-F238E27FC236}">
                <a16:creationId xmlns:a16="http://schemas.microsoft.com/office/drawing/2014/main" id="{1A682512-A998-4527-9AB6-699ECCA1EF48}"/>
              </a:ext>
            </a:extLst>
          </p:cNvPr>
          <p:cNvSpPr/>
          <p:nvPr>
            <p:custDataLst>
              <p:tags r:id="rId20"/>
            </p:custDataLst>
          </p:nvPr>
        </p:nvSpPr>
        <p:spPr>
          <a:xfrm>
            <a:off x="4723100" y="2847353"/>
            <a:ext cx="1346345" cy="1344941"/>
          </a:xfrm>
          <a:custGeom>
            <a:avLst/>
            <a:gdLst>
              <a:gd name="T0" fmla="*/ 548 w 1095"/>
              <a:gd name="T1" fmla="*/ 313 h 1094"/>
              <a:gd name="T2" fmla="*/ 646 w 1095"/>
              <a:gd name="T3" fmla="*/ 90 h 1094"/>
              <a:gd name="T4" fmla="*/ 651 w 1095"/>
              <a:gd name="T5" fmla="*/ 84 h 1094"/>
              <a:gd name="T6" fmla="*/ 661 w 1095"/>
              <a:gd name="T7" fmla="*/ 75 h 1094"/>
              <a:gd name="T8" fmla="*/ 666 w 1095"/>
              <a:gd name="T9" fmla="*/ 71 h 1094"/>
              <a:gd name="T10" fmla="*/ 675 w 1095"/>
              <a:gd name="T11" fmla="*/ 63 h 1094"/>
              <a:gd name="T12" fmla="*/ 680 w 1095"/>
              <a:gd name="T13" fmla="*/ 59 h 1094"/>
              <a:gd name="T14" fmla="*/ 691 w 1095"/>
              <a:gd name="T15" fmla="*/ 52 h 1094"/>
              <a:gd name="T16" fmla="*/ 696 w 1095"/>
              <a:gd name="T17" fmla="*/ 49 h 1094"/>
              <a:gd name="T18" fmla="*/ 706 w 1095"/>
              <a:gd name="T19" fmla="*/ 42 h 1094"/>
              <a:gd name="T20" fmla="*/ 717 w 1095"/>
              <a:gd name="T21" fmla="*/ 37 h 1094"/>
              <a:gd name="T22" fmla="*/ 970 w 1095"/>
              <a:gd name="T23" fmla="*/ 51 h 1094"/>
              <a:gd name="T24" fmla="*/ 975 w 1095"/>
              <a:gd name="T25" fmla="*/ 55 h 1094"/>
              <a:gd name="T26" fmla="*/ 991 w 1095"/>
              <a:gd name="T27" fmla="*/ 66 h 1094"/>
              <a:gd name="T28" fmla="*/ 996 w 1095"/>
              <a:gd name="T29" fmla="*/ 71 h 1094"/>
              <a:gd name="T30" fmla="*/ 1010 w 1095"/>
              <a:gd name="T31" fmla="*/ 84 h 1094"/>
              <a:gd name="T32" fmla="*/ 1015 w 1095"/>
              <a:gd name="T33" fmla="*/ 89 h 1094"/>
              <a:gd name="T34" fmla="*/ 1028 w 1095"/>
              <a:gd name="T35" fmla="*/ 104 h 1094"/>
              <a:gd name="T36" fmla="*/ 1036 w 1095"/>
              <a:gd name="T37" fmla="*/ 114 h 1094"/>
              <a:gd name="T38" fmla="*/ 1044 w 1095"/>
              <a:gd name="T39" fmla="*/ 125 h 1094"/>
              <a:gd name="T40" fmla="*/ 1054 w 1095"/>
              <a:gd name="T41" fmla="*/ 141 h 1094"/>
              <a:gd name="T42" fmla="*/ 1052 w 1095"/>
              <a:gd name="T43" fmla="*/ 388 h 1094"/>
              <a:gd name="T44" fmla="*/ 1049 w 1095"/>
              <a:gd name="T45" fmla="*/ 394 h 1094"/>
              <a:gd name="T46" fmla="*/ 1043 w 1095"/>
              <a:gd name="T47" fmla="*/ 404 h 1094"/>
              <a:gd name="T48" fmla="*/ 1039 w 1095"/>
              <a:gd name="T49" fmla="*/ 409 h 1094"/>
              <a:gd name="T50" fmla="*/ 1031 w 1095"/>
              <a:gd name="T51" fmla="*/ 419 h 1094"/>
              <a:gd name="T52" fmla="*/ 1028 w 1095"/>
              <a:gd name="T53" fmla="*/ 424 h 1094"/>
              <a:gd name="T54" fmla="*/ 1019 w 1095"/>
              <a:gd name="T55" fmla="*/ 434 h 1094"/>
              <a:gd name="T56" fmla="*/ 1015 w 1095"/>
              <a:gd name="T57" fmla="*/ 439 h 1094"/>
              <a:gd name="T58" fmla="*/ 1010 w 1095"/>
              <a:gd name="T59" fmla="*/ 444 h 1094"/>
              <a:gd name="T60" fmla="*/ 1005 w 1095"/>
              <a:gd name="T61" fmla="*/ 448 h 1094"/>
              <a:gd name="T62" fmla="*/ 548 w 1095"/>
              <a:gd name="T63" fmla="*/ 780 h 1094"/>
              <a:gd name="T64" fmla="*/ 450 w 1095"/>
              <a:gd name="T65" fmla="*/ 1004 h 1094"/>
              <a:gd name="T66" fmla="*/ 444 w 1095"/>
              <a:gd name="T67" fmla="*/ 1010 h 1094"/>
              <a:gd name="T68" fmla="*/ 435 w 1095"/>
              <a:gd name="T69" fmla="*/ 1019 h 1094"/>
              <a:gd name="T70" fmla="*/ 430 w 1095"/>
              <a:gd name="T71" fmla="*/ 1023 h 1094"/>
              <a:gd name="T72" fmla="*/ 420 w 1095"/>
              <a:gd name="T73" fmla="*/ 1031 h 1094"/>
              <a:gd name="T74" fmla="*/ 415 w 1095"/>
              <a:gd name="T75" fmla="*/ 1035 h 1094"/>
              <a:gd name="T76" fmla="*/ 405 w 1095"/>
              <a:gd name="T77" fmla="*/ 1042 h 1094"/>
              <a:gd name="T78" fmla="*/ 400 w 1095"/>
              <a:gd name="T79" fmla="*/ 1045 h 1094"/>
              <a:gd name="T80" fmla="*/ 389 w 1095"/>
              <a:gd name="T81" fmla="*/ 1052 h 1094"/>
              <a:gd name="T82" fmla="*/ 378 w 1095"/>
              <a:gd name="T83" fmla="*/ 1057 h 1094"/>
              <a:gd name="T84" fmla="*/ 126 w 1095"/>
              <a:gd name="T85" fmla="*/ 1043 h 1094"/>
              <a:gd name="T86" fmla="*/ 120 w 1095"/>
              <a:gd name="T87" fmla="*/ 1039 h 1094"/>
              <a:gd name="T88" fmla="*/ 105 w 1095"/>
              <a:gd name="T89" fmla="*/ 1028 h 1094"/>
              <a:gd name="T90" fmla="*/ 100 w 1095"/>
              <a:gd name="T91" fmla="*/ 1023 h 1094"/>
              <a:gd name="T92" fmla="*/ 85 w 1095"/>
              <a:gd name="T93" fmla="*/ 1010 h 1094"/>
              <a:gd name="T94" fmla="*/ 80 w 1095"/>
              <a:gd name="T95" fmla="*/ 1005 h 1094"/>
              <a:gd name="T96" fmla="*/ 67 w 1095"/>
              <a:gd name="T97" fmla="*/ 990 h 1094"/>
              <a:gd name="T98" fmla="*/ 59 w 1095"/>
              <a:gd name="T99" fmla="*/ 980 h 1094"/>
              <a:gd name="T100" fmla="*/ 52 w 1095"/>
              <a:gd name="T101" fmla="*/ 969 h 1094"/>
              <a:gd name="T102" fmla="*/ 42 w 1095"/>
              <a:gd name="T103" fmla="*/ 953 h 1094"/>
              <a:gd name="T104" fmla="*/ 43 w 1095"/>
              <a:gd name="T105" fmla="*/ 706 h 1094"/>
              <a:gd name="T106" fmla="*/ 46 w 1095"/>
              <a:gd name="T107" fmla="*/ 700 h 1094"/>
              <a:gd name="T108" fmla="*/ 53 w 1095"/>
              <a:gd name="T109" fmla="*/ 690 h 1094"/>
              <a:gd name="T110" fmla="*/ 56 w 1095"/>
              <a:gd name="T111" fmla="*/ 685 h 1094"/>
              <a:gd name="T112" fmla="*/ 64 w 1095"/>
              <a:gd name="T113" fmla="*/ 675 h 1094"/>
              <a:gd name="T114" fmla="*/ 68 w 1095"/>
              <a:gd name="T115" fmla="*/ 670 h 1094"/>
              <a:gd name="T116" fmla="*/ 76 w 1095"/>
              <a:gd name="T117" fmla="*/ 660 h 1094"/>
              <a:gd name="T118" fmla="*/ 80 w 1095"/>
              <a:gd name="T119" fmla="*/ 655 h 1094"/>
              <a:gd name="T120" fmla="*/ 85 w 1095"/>
              <a:gd name="T121" fmla="*/ 651 h 1094"/>
              <a:gd name="T122" fmla="*/ 96 w 1095"/>
              <a:gd name="T123" fmla="*/ 640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95" h="1094">
                <a:moveTo>
                  <a:pt x="315" y="547"/>
                </a:moveTo>
                <a:cubicBezTo>
                  <a:pt x="359" y="529"/>
                  <a:pt x="404" y="502"/>
                  <a:pt x="453" y="455"/>
                </a:cubicBezTo>
                <a:cubicBezTo>
                  <a:pt x="502" y="405"/>
                  <a:pt x="529" y="358"/>
                  <a:pt x="548" y="313"/>
                </a:cubicBezTo>
                <a:cubicBezTo>
                  <a:pt x="578" y="234"/>
                  <a:pt x="581" y="162"/>
                  <a:pt x="641" y="95"/>
                </a:cubicBezTo>
                <a:cubicBezTo>
                  <a:pt x="642" y="94"/>
                  <a:pt x="643" y="93"/>
                  <a:pt x="644" y="92"/>
                </a:cubicBezTo>
                <a:cubicBezTo>
                  <a:pt x="646" y="90"/>
                  <a:pt x="646" y="90"/>
                  <a:pt x="646" y="90"/>
                </a:cubicBezTo>
                <a:cubicBezTo>
                  <a:pt x="648" y="88"/>
                  <a:pt x="649" y="86"/>
                  <a:pt x="651" y="84"/>
                </a:cubicBezTo>
                <a:cubicBezTo>
                  <a:pt x="651" y="84"/>
                  <a:pt x="651" y="84"/>
                  <a:pt x="651" y="84"/>
                </a:cubicBezTo>
                <a:cubicBezTo>
                  <a:pt x="651" y="84"/>
                  <a:pt x="651" y="84"/>
                  <a:pt x="651" y="84"/>
                </a:cubicBezTo>
                <a:cubicBezTo>
                  <a:pt x="653" y="83"/>
                  <a:pt x="654" y="81"/>
                  <a:pt x="656" y="80"/>
                </a:cubicBezTo>
                <a:cubicBezTo>
                  <a:pt x="656" y="80"/>
                  <a:pt x="656" y="80"/>
                  <a:pt x="656" y="80"/>
                </a:cubicBezTo>
                <a:cubicBezTo>
                  <a:pt x="658" y="78"/>
                  <a:pt x="659" y="77"/>
                  <a:pt x="661" y="75"/>
                </a:cubicBezTo>
                <a:cubicBezTo>
                  <a:pt x="661" y="75"/>
                  <a:pt x="661" y="75"/>
                  <a:pt x="661" y="75"/>
                </a:cubicBezTo>
                <a:cubicBezTo>
                  <a:pt x="662" y="74"/>
                  <a:pt x="664" y="73"/>
                  <a:pt x="666" y="71"/>
                </a:cubicBezTo>
                <a:cubicBezTo>
                  <a:pt x="666" y="71"/>
                  <a:pt x="666" y="71"/>
                  <a:pt x="666" y="71"/>
                </a:cubicBezTo>
                <a:cubicBezTo>
                  <a:pt x="667" y="70"/>
                  <a:pt x="669" y="68"/>
                  <a:pt x="670" y="67"/>
                </a:cubicBezTo>
                <a:cubicBezTo>
                  <a:pt x="670" y="67"/>
                  <a:pt x="670" y="67"/>
                  <a:pt x="670" y="67"/>
                </a:cubicBezTo>
                <a:cubicBezTo>
                  <a:pt x="672" y="66"/>
                  <a:pt x="674" y="64"/>
                  <a:pt x="675" y="63"/>
                </a:cubicBezTo>
                <a:cubicBezTo>
                  <a:pt x="675" y="63"/>
                  <a:pt x="675" y="63"/>
                  <a:pt x="675" y="63"/>
                </a:cubicBezTo>
                <a:cubicBezTo>
                  <a:pt x="677" y="62"/>
                  <a:pt x="679" y="61"/>
                  <a:pt x="680" y="59"/>
                </a:cubicBezTo>
                <a:cubicBezTo>
                  <a:pt x="680" y="59"/>
                  <a:pt x="680" y="59"/>
                  <a:pt x="680" y="59"/>
                </a:cubicBezTo>
                <a:cubicBezTo>
                  <a:pt x="682" y="58"/>
                  <a:pt x="684" y="57"/>
                  <a:pt x="685" y="56"/>
                </a:cubicBezTo>
                <a:cubicBezTo>
                  <a:pt x="685" y="56"/>
                  <a:pt x="685" y="56"/>
                  <a:pt x="685" y="56"/>
                </a:cubicBezTo>
                <a:cubicBezTo>
                  <a:pt x="687" y="54"/>
                  <a:pt x="689" y="53"/>
                  <a:pt x="691" y="52"/>
                </a:cubicBezTo>
                <a:cubicBezTo>
                  <a:pt x="691" y="52"/>
                  <a:pt x="691" y="52"/>
                  <a:pt x="691" y="52"/>
                </a:cubicBezTo>
                <a:cubicBezTo>
                  <a:pt x="692" y="51"/>
                  <a:pt x="694" y="50"/>
                  <a:pt x="696" y="49"/>
                </a:cubicBezTo>
                <a:cubicBezTo>
                  <a:pt x="696" y="49"/>
                  <a:pt x="696" y="49"/>
                  <a:pt x="696" y="49"/>
                </a:cubicBezTo>
                <a:cubicBezTo>
                  <a:pt x="698" y="48"/>
                  <a:pt x="699" y="47"/>
                  <a:pt x="701" y="45"/>
                </a:cubicBezTo>
                <a:cubicBezTo>
                  <a:pt x="701" y="45"/>
                  <a:pt x="701" y="45"/>
                  <a:pt x="701" y="45"/>
                </a:cubicBezTo>
                <a:cubicBezTo>
                  <a:pt x="703" y="44"/>
                  <a:pt x="705" y="43"/>
                  <a:pt x="706" y="42"/>
                </a:cubicBezTo>
                <a:cubicBezTo>
                  <a:pt x="706" y="42"/>
                  <a:pt x="706" y="42"/>
                  <a:pt x="706" y="42"/>
                </a:cubicBezTo>
                <a:cubicBezTo>
                  <a:pt x="710" y="40"/>
                  <a:pt x="714" y="38"/>
                  <a:pt x="717" y="37"/>
                </a:cubicBezTo>
                <a:cubicBezTo>
                  <a:pt x="717" y="37"/>
                  <a:pt x="717" y="37"/>
                  <a:pt x="717" y="37"/>
                </a:cubicBezTo>
                <a:cubicBezTo>
                  <a:pt x="791" y="0"/>
                  <a:pt x="880" y="0"/>
                  <a:pt x="953" y="41"/>
                </a:cubicBezTo>
                <a:cubicBezTo>
                  <a:pt x="953" y="41"/>
                  <a:pt x="953" y="41"/>
                  <a:pt x="953" y="41"/>
                </a:cubicBezTo>
                <a:cubicBezTo>
                  <a:pt x="959" y="44"/>
                  <a:pt x="965" y="48"/>
                  <a:pt x="970" y="51"/>
                </a:cubicBezTo>
                <a:cubicBezTo>
                  <a:pt x="970" y="51"/>
                  <a:pt x="970" y="51"/>
                  <a:pt x="970" y="51"/>
                </a:cubicBezTo>
                <a:cubicBezTo>
                  <a:pt x="972" y="52"/>
                  <a:pt x="973" y="53"/>
                  <a:pt x="975" y="55"/>
                </a:cubicBezTo>
                <a:cubicBezTo>
                  <a:pt x="975" y="55"/>
                  <a:pt x="975" y="55"/>
                  <a:pt x="975" y="55"/>
                </a:cubicBezTo>
                <a:cubicBezTo>
                  <a:pt x="977" y="56"/>
                  <a:pt x="979" y="57"/>
                  <a:pt x="980" y="58"/>
                </a:cubicBezTo>
                <a:cubicBezTo>
                  <a:pt x="980" y="58"/>
                  <a:pt x="980" y="58"/>
                  <a:pt x="980" y="58"/>
                </a:cubicBezTo>
                <a:cubicBezTo>
                  <a:pt x="984" y="61"/>
                  <a:pt x="987" y="64"/>
                  <a:pt x="991" y="66"/>
                </a:cubicBezTo>
                <a:cubicBezTo>
                  <a:pt x="991" y="66"/>
                  <a:pt x="991" y="66"/>
                  <a:pt x="991" y="66"/>
                </a:cubicBezTo>
                <a:cubicBezTo>
                  <a:pt x="993" y="68"/>
                  <a:pt x="994" y="69"/>
                  <a:pt x="996" y="71"/>
                </a:cubicBezTo>
                <a:cubicBezTo>
                  <a:pt x="996" y="71"/>
                  <a:pt x="996" y="71"/>
                  <a:pt x="996" y="71"/>
                </a:cubicBezTo>
                <a:cubicBezTo>
                  <a:pt x="999" y="73"/>
                  <a:pt x="1002" y="76"/>
                  <a:pt x="1006" y="80"/>
                </a:cubicBezTo>
                <a:cubicBezTo>
                  <a:pt x="1006" y="80"/>
                  <a:pt x="1006" y="80"/>
                  <a:pt x="1006" y="80"/>
                </a:cubicBezTo>
                <a:cubicBezTo>
                  <a:pt x="1007" y="81"/>
                  <a:pt x="1009" y="83"/>
                  <a:pt x="1010" y="84"/>
                </a:cubicBezTo>
                <a:cubicBezTo>
                  <a:pt x="1010" y="84"/>
                  <a:pt x="1010" y="84"/>
                  <a:pt x="1010" y="84"/>
                </a:cubicBezTo>
                <a:cubicBezTo>
                  <a:pt x="1012" y="86"/>
                  <a:pt x="1014" y="87"/>
                  <a:pt x="1015" y="89"/>
                </a:cubicBezTo>
                <a:cubicBezTo>
                  <a:pt x="1015" y="89"/>
                  <a:pt x="1015" y="89"/>
                  <a:pt x="1015" y="89"/>
                </a:cubicBezTo>
                <a:cubicBezTo>
                  <a:pt x="1018" y="92"/>
                  <a:pt x="1021" y="96"/>
                  <a:pt x="1024" y="99"/>
                </a:cubicBezTo>
                <a:cubicBezTo>
                  <a:pt x="1024" y="99"/>
                  <a:pt x="1024" y="99"/>
                  <a:pt x="1024" y="99"/>
                </a:cubicBezTo>
                <a:cubicBezTo>
                  <a:pt x="1026" y="101"/>
                  <a:pt x="1027" y="102"/>
                  <a:pt x="1028" y="104"/>
                </a:cubicBezTo>
                <a:cubicBezTo>
                  <a:pt x="1028" y="104"/>
                  <a:pt x="1028" y="104"/>
                  <a:pt x="1028" y="104"/>
                </a:cubicBezTo>
                <a:cubicBezTo>
                  <a:pt x="1031" y="107"/>
                  <a:pt x="1034" y="111"/>
                  <a:pt x="1036" y="114"/>
                </a:cubicBezTo>
                <a:cubicBezTo>
                  <a:pt x="1036" y="114"/>
                  <a:pt x="1036" y="114"/>
                  <a:pt x="1036" y="114"/>
                </a:cubicBezTo>
                <a:cubicBezTo>
                  <a:pt x="1038" y="116"/>
                  <a:pt x="1039" y="118"/>
                  <a:pt x="1040" y="119"/>
                </a:cubicBezTo>
                <a:cubicBezTo>
                  <a:pt x="1040" y="119"/>
                  <a:pt x="1040" y="119"/>
                  <a:pt x="1040" y="119"/>
                </a:cubicBezTo>
                <a:cubicBezTo>
                  <a:pt x="1041" y="121"/>
                  <a:pt x="1042" y="123"/>
                  <a:pt x="1044" y="125"/>
                </a:cubicBezTo>
                <a:cubicBezTo>
                  <a:pt x="1044" y="125"/>
                  <a:pt x="1044" y="125"/>
                  <a:pt x="1044" y="125"/>
                </a:cubicBezTo>
                <a:cubicBezTo>
                  <a:pt x="1047" y="130"/>
                  <a:pt x="1050" y="136"/>
                  <a:pt x="1054" y="141"/>
                </a:cubicBezTo>
                <a:cubicBezTo>
                  <a:pt x="1054" y="141"/>
                  <a:pt x="1054" y="141"/>
                  <a:pt x="1054" y="141"/>
                </a:cubicBezTo>
                <a:cubicBezTo>
                  <a:pt x="1095" y="215"/>
                  <a:pt x="1095" y="304"/>
                  <a:pt x="1058" y="377"/>
                </a:cubicBezTo>
                <a:cubicBezTo>
                  <a:pt x="1058" y="377"/>
                  <a:pt x="1058" y="377"/>
                  <a:pt x="1058" y="377"/>
                </a:cubicBezTo>
                <a:cubicBezTo>
                  <a:pt x="1056" y="381"/>
                  <a:pt x="1054" y="385"/>
                  <a:pt x="1052" y="388"/>
                </a:cubicBezTo>
                <a:cubicBezTo>
                  <a:pt x="1052" y="388"/>
                  <a:pt x="1052" y="388"/>
                  <a:pt x="1052" y="388"/>
                </a:cubicBezTo>
                <a:cubicBezTo>
                  <a:pt x="1051" y="390"/>
                  <a:pt x="1050" y="392"/>
                  <a:pt x="1049" y="394"/>
                </a:cubicBezTo>
                <a:cubicBezTo>
                  <a:pt x="1049" y="394"/>
                  <a:pt x="1049" y="394"/>
                  <a:pt x="1049" y="394"/>
                </a:cubicBezTo>
                <a:cubicBezTo>
                  <a:pt x="1048" y="395"/>
                  <a:pt x="1047" y="397"/>
                  <a:pt x="1046" y="399"/>
                </a:cubicBezTo>
                <a:cubicBezTo>
                  <a:pt x="1046" y="399"/>
                  <a:pt x="1046" y="399"/>
                  <a:pt x="1046" y="399"/>
                </a:cubicBezTo>
                <a:cubicBezTo>
                  <a:pt x="1045" y="401"/>
                  <a:pt x="1044" y="402"/>
                  <a:pt x="1043" y="404"/>
                </a:cubicBezTo>
                <a:cubicBezTo>
                  <a:pt x="1043" y="404"/>
                  <a:pt x="1043" y="404"/>
                  <a:pt x="1043" y="404"/>
                </a:cubicBezTo>
                <a:cubicBezTo>
                  <a:pt x="1041" y="406"/>
                  <a:pt x="1040" y="408"/>
                  <a:pt x="1039" y="409"/>
                </a:cubicBezTo>
                <a:cubicBezTo>
                  <a:pt x="1039" y="409"/>
                  <a:pt x="1039" y="409"/>
                  <a:pt x="1039" y="409"/>
                </a:cubicBezTo>
                <a:cubicBezTo>
                  <a:pt x="1038" y="411"/>
                  <a:pt x="1037" y="413"/>
                  <a:pt x="1035" y="414"/>
                </a:cubicBezTo>
                <a:cubicBezTo>
                  <a:pt x="1035" y="414"/>
                  <a:pt x="1035" y="414"/>
                  <a:pt x="1035" y="414"/>
                </a:cubicBezTo>
                <a:cubicBezTo>
                  <a:pt x="1034" y="416"/>
                  <a:pt x="1033" y="418"/>
                  <a:pt x="1031" y="419"/>
                </a:cubicBezTo>
                <a:cubicBezTo>
                  <a:pt x="1031" y="419"/>
                  <a:pt x="1031" y="419"/>
                  <a:pt x="1031" y="419"/>
                </a:cubicBezTo>
                <a:cubicBezTo>
                  <a:pt x="1030" y="421"/>
                  <a:pt x="1029" y="423"/>
                  <a:pt x="1028" y="424"/>
                </a:cubicBezTo>
                <a:cubicBezTo>
                  <a:pt x="1028" y="424"/>
                  <a:pt x="1028" y="424"/>
                  <a:pt x="1028" y="424"/>
                </a:cubicBezTo>
                <a:cubicBezTo>
                  <a:pt x="1026" y="426"/>
                  <a:pt x="1025" y="428"/>
                  <a:pt x="1023" y="429"/>
                </a:cubicBezTo>
                <a:cubicBezTo>
                  <a:pt x="1023" y="429"/>
                  <a:pt x="1023" y="429"/>
                  <a:pt x="1023" y="429"/>
                </a:cubicBezTo>
                <a:cubicBezTo>
                  <a:pt x="1022" y="431"/>
                  <a:pt x="1021" y="432"/>
                  <a:pt x="1019" y="434"/>
                </a:cubicBezTo>
                <a:cubicBezTo>
                  <a:pt x="1019" y="434"/>
                  <a:pt x="1019" y="434"/>
                  <a:pt x="1019" y="434"/>
                </a:cubicBezTo>
                <a:cubicBezTo>
                  <a:pt x="1018" y="436"/>
                  <a:pt x="1016" y="437"/>
                  <a:pt x="1015" y="439"/>
                </a:cubicBezTo>
                <a:cubicBezTo>
                  <a:pt x="1015" y="439"/>
                  <a:pt x="1015" y="439"/>
                  <a:pt x="1015" y="439"/>
                </a:cubicBezTo>
                <a:cubicBezTo>
                  <a:pt x="1013" y="440"/>
                  <a:pt x="1012" y="442"/>
                  <a:pt x="1010" y="443"/>
                </a:cubicBezTo>
                <a:cubicBezTo>
                  <a:pt x="1010" y="443"/>
                  <a:pt x="1010" y="443"/>
                  <a:pt x="1010" y="443"/>
                </a:cubicBezTo>
                <a:cubicBezTo>
                  <a:pt x="1010" y="444"/>
                  <a:pt x="1010" y="444"/>
                  <a:pt x="1010" y="444"/>
                </a:cubicBezTo>
                <a:cubicBezTo>
                  <a:pt x="1009" y="445"/>
                  <a:pt x="1008" y="445"/>
                  <a:pt x="1008" y="446"/>
                </a:cubicBezTo>
                <a:cubicBezTo>
                  <a:pt x="1007" y="447"/>
                  <a:pt x="1006" y="448"/>
                  <a:pt x="1005" y="448"/>
                </a:cubicBezTo>
                <a:cubicBezTo>
                  <a:pt x="1005" y="448"/>
                  <a:pt x="1005" y="448"/>
                  <a:pt x="1005" y="448"/>
                </a:cubicBezTo>
                <a:cubicBezTo>
                  <a:pt x="937" y="513"/>
                  <a:pt x="863" y="516"/>
                  <a:pt x="782" y="547"/>
                </a:cubicBezTo>
                <a:cubicBezTo>
                  <a:pt x="737" y="565"/>
                  <a:pt x="690" y="592"/>
                  <a:pt x="640" y="641"/>
                </a:cubicBezTo>
                <a:cubicBezTo>
                  <a:pt x="593" y="690"/>
                  <a:pt x="566" y="736"/>
                  <a:pt x="548" y="780"/>
                </a:cubicBezTo>
                <a:cubicBezTo>
                  <a:pt x="518" y="859"/>
                  <a:pt x="515" y="931"/>
                  <a:pt x="454" y="999"/>
                </a:cubicBezTo>
                <a:cubicBezTo>
                  <a:pt x="453" y="1000"/>
                  <a:pt x="452" y="1001"/>
                  <a:pt x="451" y="1002"/>
                </a:cubicBezTo>
                <a:cubicBezTo>
                  <a:pt x="450" y="1004"/>
                  <a:pt x="450" y="1004"/>
                  <a:pt x="450" y="1004"/>
                </a:cubicBezTo>
                <a:cubicBezTo>
                  <a:pt x="448" y="1006"/>
                  <a:pt x="446" y="1008"/>
                  <a:pt x="444" y="1010"/>
                </a:cubicBezTo>
                <a:cubicBezTo>
                  <a:pt x="444" y="1010"/>
                  <a:pt x="444" y="1010"/>
                  <a:pt x="444" y="1010"/>
                </a:cubicBezTo>
                <a:cubicBezTo>
                  <a:pt x="444" y="1010"/>
                  <a:pt x="444" y="1010"/>
                  <a:pt x="444" y="1010"/>
                </a:cubicBezTo>
                <a:cubicBezTo>
                  <a:pt x="443" y="1011"/>
                  <a:pt x="441" y="1013"/>
                  <a:pt x="439" y="1014"/>
                </a:cubicBezTo>
                <a:cubicBezTo>
                  <a:pt x="439" y="1014"/>
                  <a:pt x="439" y="1014"/>
                  <a:pt x="439" y="1014"/>
                </a:cubicBezTo>
                <a:cubicBezTo>
                  <a:pt x="438" y="1016"/>
                  <a:pt x="436" y="1017"/>
                  <a:pt x="435" y="1019"/>
                </a:cubicBezTo>
                <a:cubicBezTo>
                  <a:pt x="435" y="1019"/>
                  <a:pt x="435" y="1019"/>
                  <a:pt x="435" y="1019"/>
                </a:cubicBezTo>
                <a:cubicBezTo>
                  <a:pt x="433" y="1020"/>
                  <a:pt x="432" y="1021"/>
                  <a:pt x="430" y="1023"/>
                </a:cubicBezTo>
                <a:cubicBezTo>
                  <a:pt x="430" y="1023"/>
                  <a:pt x="430" y="1023"/>
                  <a:pt x="430" y="1023"/>
                </a:cubicBezTo>
                <a:cubicBezTo>
                  <a:pt x="428" y="1024"/>
                  <a:pt x="427" y="1026"/>
                  <a:pt x="425" y="1027"/>
                </a:cubicBezTo>
                <a:cubicBezTo>
                  <a:pt x="425" y="1027"/>
                  <a:pt x="425" y="1027"/>
                  <a:pt x="425" y="1027"/>
                </a:cubicBezTo>
                <a:cubicBezTo>
                  <a:pt x="423" y="1028"/>
                  <a:pt x="422" y="1030"/>
                  <a:pt x="420" y="1031"/>
                </a:cubicBezTo>
                <a:cubicBezTo>
                  <a:pt x="420" y="1031"/>
                  <a:pt x="420" y="1031"/>
                  <a:pt x="420" y="1031"/>
                </a:cubicBezTo>
                <a:cubicBezTo>
                  <a:pt x="419" y="1032"/>
                  <a:pt x="417" y="1033"/>
                  <a:pt x="415" y="1035"/>
                </a:cubicBezTo>
                <a:cubicBezTo>
                  <a:pt x="415" y="1035"/>
                  <a:pt x="415" y="1035"/>
                  <a:pt x="415" y="1035"/>
                </a:cubicBezTo>
                <a:cubicBezTo>
                  <a:pt x="414" y="1036"/>
                  <a:pt x="412" y="1037"/>
                  <a:pt x="410" y="1038"/>
                </a:cubicBezTo>
                <a:cubicBezTo>
                  <a:pt x="410" y="1038"/>
                  <a:pt x="410" y="1038"/>
                  <a:pt x="410" y="1038"/>
                </a:cubicBezTo>
                <a:cubicBezTo>
                  <a:pt x="408" y="1039"/>
                  <a:pt x="407" y="1041"/>
                  <a:pt x="405" y="1042"/>
                </a:cubicBezTo>
                <a:cubicBezTo>
                  <a:pt x="405" y="1042"/>
                  <a:pt x="405" y="1042"/>
                  <a:pt x="405" y="1042"/>
                </a:cubicBezTo>
                <a:cubicBezTo>
                  <a:pt x="403" y="1043"/>
                  <a:pt x="401" y="1044"/>
                  <a:pt x="400" y="1045"/>
                </a:cubicBezTo>
                <a:cubicBezTo>
                  <a:pt x="400" y="1045"/>
                  <a:pt x="400" y="1045"/>
                  <a:pt x="400" y="1045"/>
                </a:cubicBezTo>
                <a:cubicBezTo>
                  <a:pt x="398" y="1046"/>
                  <a:pt x="396" y="1047"/>
                  <a:pt x="394" y="1048"/>
                </a:cubicBezTo>
                <a:cubicBezTo>
                  <a:pt x="394" y="1048"/>
                  <a:pt x="394" y="1048"/>
                  <a:pt x="394" y="1048"/>
                </a:cubicBezTo>
                <a:cubicBezTo>
                  <a:pt x="393" y="1050"/>
                  <a:pt x="391" y="1051"/>
                  <a:pt x="389" y="1052"/>
                </a:cubicBezTo>
                <a:cubicBezTo>
                  <a:pt x="389" y="1052"/>
                  <a:pt x="389" y="1052"/>
                  <a:pt x="389" y="1052"/>
                </a:cubicBezTo>
                <a:cubicBezTo>
                  <a:pt x="385" y="1054"/>
                  <a:pt x="382" y="1055"/>
                  <a:pt x="378" y="1057"/>
                </a:cubicBezTo>
                <a:cubicBezTo>
                  <a:pt x="378" y="1057"/>
                  <a:pt x="378" y="1057"/>
                  <a:pt x="378" y="1057"/>
                </a:cubicBezTo>
                <a:cubicBezTo>
                  <a:pt x="305" y="1094"/>
                  <a:pt x="216" y="1094"/>
                  <a:pt x="142" y="1053"/>
                </a:cubicBezTo>
                <a:cubicBezTo>
                  <a:pt x="142" y="1053"/>
                  <a:pt x="142" y="1053"/>
                  <a:pt x="142" y="1053"/>
                </a:cubicBezTo>
                <a:cubicBezTo>
                  <a:pt x="136" y="1050"/>
                  <a:pt x="131" y="1046"/>
                  <a:pt x="126" y="1043"/>
                </a:cubicBezTo>
                <a:cubicBezTo>
                  <a:pt x="126" y="1043"/>
                  <a:pt x="126" y="1043"/>
                  <a:pt x="126" y="1043"/>
                </a:cubicBezTo>
                <a:cubicBezTo>
                  <a:pt x="124" y="1042"/>
                  <a:pt x="122" y="1040"/>
                  <a:pt x="120" y="1039"/>
                </a:cubicBezTo>
                <a:cubicBezTo>
                  <a:pt x="120" y="1039"/>
                  <a:pt x="120" y="1039"/>
                  <a:pt x="120" y="1039"/>
                </a:cubicBezTo>
                <a:cubicBezTo>
                  <a:pt x="119" y="1038"/>
                  <a:pt x="117" y="1037"/>
                  <a:pt x="115" y="1035"/>
                </a:cubicBezTo>
                <a:cubicBezTo>
                  <a:pt x="115" y="1035"/>
                  <a:pt x="115" y="1035"/>
                  <a:pt x="115" y="1035"/>
                </a:cubicBezTo>
                <a:cubicBezTo>
                  <a:pt x="112" y="1033"/>
                  <a:pt x="108" y="1030"/>
                  <a:pt x="105" y="1028"/>
                </a:cubicBezTo>
                <a:cubicBezTo>
                  <a:pt x="105" y="1027"/>
                  <a:pt x="105" y="1027"/>
                  <a:pt x="105" y="1027"/>
                </a:cubicBezTo>
                <a:cubicBezTo>
                  <a:pt x="103" y="1026"/>
                  <a:pt x="101" y="1025"/>
                  <a:pt x="100" y="1023"/>
                </a:cubicBezTo>
                <a:cubicBezTo>
                  <a:pt x="100" y="1023"/>
                  <a:pt x="100" y="1023"/>
                  <a:pt x="100" y="1023"/>
                </a:cubicBezTo>
                <a:cubicBezTo>
                  <a:pt x="96" y="1020"/>
                  <a:pt x="93" y="1018"/>
                  <a:pt x="90" y="1014"/>
                </a:cubicBezTo>
                <a:cubicBezTo>
                  <a:pt x="90" y="1014"/>
                  <a:pt x="90" y="1014"/>
                  <a:pt x="90" y="1014"/>
                </a:cubicBezTo>
                <a:cubicBezTo>
                  <a:pt x="88" y="1013"/>
                  <a:pt x="87" y="1011"/>
                  <a:pt x="85" y="1010"/>
                </a:cubicBezTo>
                <a:cubicBezTo>
                  <a:pt x="85" y="1010"/>
                  <a:pt x="85" y="1010"/>
                  <a:pt x="85" y="1010"/>
                </a:cubicBezTo>
                <a:cubicBezTo>
                  <a:pt x="83" y="1008"/>
                  <a:pt x="82" y="1007"/>
                  <a:pt x="80" y="1005"/>
                </a:cubicBezTo>
                <a:cubicBezTo>
                  <a:pt x="80" y="1005"/>
                  <a:pt x="80" y="1005"/>
                  <a:pt x="80" y="1005"/>
                </a:cubicBezTo>
                <a:cubicBezTo>
                  <a:pt x="77" y="1002"/>
                  <a:pt x="74" y="998"/>
                  <a:pt x="71" y="995"/>
                </a:cubicBezTo>
                <a:cubicBezTo>
                  <a:pt x="71" y="995"/>
                  <a:pt x="71" y="995"/>
                  <a:pt x="71" y="995"/>
                </a:cubicBezTo>
                <a:cubicBezTo>
                  <a:pt x="70" y="993"/>
                  <a:pt x="69" y="992"/>
                  <a:pt x="67" y="990"/>
                </a:cubicBezTo>
                <a:cubicBezTo>
                  <a:pt x="67" y="990"/>
                  <a:pt x="67" y="990"/>
                  <a:pt x="67" y="990"/>
                </a:cubicBezTo>
                <a:cubicBezTo>
                  <a:pt x="64" y="987"/>
                  <a:pt x="62" y="983"/>
                  <a:pt x="59" y="980"/>
                </a:cubicBezTo>
                <a:cubicBezTo>
                  <a:pt x="59" y="980"/>
                  <a:pt x="59" y="980"/>
                  <a:pt x="59" y="980"/>
                </a:cubicBezTo>
                <a:cubicBezTo>
                  <a:pt x="58" y="978"/>
                  <a:pt x="57" y="976"/>
                  <a:pt x="55" y="974"/>
                </a:cubicBezTo>
                <a:cubicBezTo>
                  <a:pt x="55" y="974"/>
                  <a:pt x="55" y="974"/>
                  <a:pt x="55" y="974"/>
                </a:cubicBezTo>
                <a:cubicBezTo>
                  <a:pt x="54" y="973"/>
                  <a:pt x="53" y="971"/>
                  <a:pt x="52" y="969"/>
                </a:cubicBezTo>
                <a:cubicBezTo>
                  <a:pt x="52" y="969"/>
                  <a:pt x="52" y="969"/>
                  <a:pt x="52" y="969"/>
                </a:cubicBezTo>
                <a:cubicBezTo>
                  <a:pt x="48" y="964"/>
                  <a:pt x="45" y="958"/>
                  <a:pt x="42" y="953"/>
                </a:cubicBezTo>
                <a:cubicBezTo>
                  <a:pt x="42" y="953"/>
                  <a:pt x="42" y="953"/>
                  <a:pt x="42" y="953"/>
                </a:cubicBezTo>
                <a:cubicBezTo>
                  <a:pt x="1" y="879"/>
                  <a:pt x="0" y="790"/>
                  <a:pt x="37" y="717"/>
                </a:cubicBezTo>
                <a:cubicBezTo>
                  <a:pt x="37" y="717"/>
                  <a:pt x="37" y="717"/>
                  <a:pt x="37" y="717"/>
                </a:cubicBezTo>
                <a:cubicBezTo>
                  <a:pt x="39" y="713"/>
                  <a:pt x="41" y="709"/>
                  <a:pt x="43" y="706"/>
                </a:cubicBezTo>
                <a:cubicBezTo>
                  <a:pt x="43" y="706"/>
                  <a:pt x="43" y="706"/>
                  <a:pt x="43" y="706"/>
                </a:cubicBezTo>
                <a:cubicBezTo>
                  <a:pt x="44" y="704"/>
                  <a:pt x="45" y="702"/>
                  <a:pt x="46" y="700"/>
                </a:cubicBezTo>
                <a:cubicBezTo>
                  <a:pt x="46" y="700"/>
                  <a:pt x="46" y="700"/>
                  <a:pt x="46" y="700"/>
                </a:cubicBezTo>
                <a:cubicBezTo>
                  <a:pt x="47" y="699"/>
                  <a:pt x="48" y="697"/>
                  <a:pt x="50" y="695"/>
                </a:cubicBezTo>
                <a:cubicBezTo>
                  <a:pt x="50" y="695"/>
                  <a:pt x="50" y="695"/>
                  <a:pt x="50" y="695"/>
                </a:cubicBezTo>
                <a:cubicBezTo>
                  <a:pt x="51" y="693"/>
                  <a:pt x="52" y="692"/>
                  <a:pt x="53" y="690"/>
                </a:cubicBezTo>
                <a:cubicBezTo>
                  <a:pt x="53" y="690"/>
                  <a:pt x="53" y="690"/>
                  <a:pt x="53" y="690"/>
                </a:cubicBezTo>
                <a:cubicBezTo>
                  <a:pt x="54" y="688"/>
                  <a:pt x="55" y="686"/>
                  <a:pt x="56" y="685"/>
                </a:cubicBezTo>
                <a:cubicBezTo>
                  <a:pt x="56" y="685"/>
                  <a:pt x="56" y="685"/>
                  <a:pt x="56" y="685"/>
                </a:cubicBezTo>
                <a:cubicBezTo>
                  <a:pt x="58" y="683"/>
                  <a:pt x="59" y="681"/>
                  <a:pt x="60" y="680"/>
                </a:cubicBezTo>
                <a:cubicBezTo>
                  <a:pt x="60" y="680"/>
                  <a:pt x="60" y="680"/>
                  <a:pt x="60" y="680"/>
                </a:cubicBezTo>
                <a:cubicBezTo>
                  <a:pt x="61" y="678"/>
                  <a:pt x="63" y="676"/>
                  <a:pt x="64" y="675"/>
                </a:cubicBezTo>
                <a:cubicBezTo>
                  <a:pt x="64" y="675"/>
                  <a:pt x="64" y="675"/>
                  <a:pt x="64" y="675"/>
                </a:cubicBezTo>
                <a:cubicBezTo>
                  <a:pt x="65" y="673"/>
                  <a:pt x="67" y="671"/>
                  <a:pt x="68" y="670"/>
                </a:cubicBezTo>
                <a:cubicBezTo>
                  <a:pt x="68" y="670"/>
                  <a:pt x="68" y="670"/>
                  <a:pt x="68" y="670"/>
                </a:cubicBezTo>
                <a:cubicBezTo>
                  <a:pt x="69" y="668"/>
                  <a:pt x="71" y="666"/>
                  <a:pt x="72" y="665"/>
                </a:cubicBezTo>
                <a:cubicBezTo>
                  <a:pt x="72" y="665"/>
                  <a:pt x="72" y="665"/>
                  <a:pt x="72" y="665"/>
                </a:cubicBezTo>
                <a:cubicBezTo>
                  <a:pt x="73" y="663"/>
                  <a:pt x="75" y="662"/>
                  <a:pt x="76" y="660"/>
                </a:cubicBezTo>
                <a:cubicBezTo>
                  <a:pt x="76" y="660"/>
                  <a:pt x="76" y="660"/>
                  <a:pt x="76" y="660"/>
                </a:cubicBezTo>
                <a:cubicBezTo>
                  <a:pt x="78" y="658"/>
                  <a:pt x="79" y="657"/>
                  <a:pt x="80" y="655"/>
                </a:cubicBezTo>
                <a:cubicBezTo>
                  <a:pt x="80" y="655"/>
                  <a:pt x="80" y="655"/>
                  <a:pt x="80" y="655"/>
                </a:cubicBezTo>
                <a:cubicBezTo>
                  <a:pt x="82" y="654"/>
                  <a:pt x="83" y="652"/>
                  <a:pt x="85" y="651"/>
                </a:cubicBezTo>
                <a:cubicBezTo>
                  <a:pt x="85" y="651"/>
                  <a:pt x="85" y="651"/>
                  <a:pt x="85" y="651"/>
                </a:cubicBezTo>
                <a:cubicBezTo>
                  <a:pt x="85" y="651"/>
                  <a:pt x="85" y="651"/>
                  <a:pt x="85" y="651"/>
                </a:cubicBezTo>
                <a:cubicBezTo>
                  <a:pt x="87" y="649"/>
                  <a:pt x="89" y="647"/>
                  <a:pt x="91" y="645"/>
                </a:cubicBezTo>
                <a:cubicBezTo>
                  <a:pt x="91" y="644"/>
                  <a:pt x="92" y="644"/>
                  <a:pt x="92" y="643"/>
                </a:cubicBezTo>
                <a:cubicBezTo>
                  <a:pt x="94" y="642"/>
                  <a:pt x="95" y="641"/>
                  <a:pt x="96" y="640"/>
                </a:cubicBezTo>
                <a:cubicBezTo>
                  <a:pt x="163" y="580"/>
                  <a:pt x="236" y="577"/>
                  <a:pt x="315" y="547"/>
                </a:cubicBezTo>
                <a:close/>
              </a:path>
            </a:pathLst>
          </a:custGeom>
          <a:solidFill>
            <a:schemeClr val="accent1">
              <a:lumMod val="100000"/>
            </a:schemeClr>
          </a:solidFill>
          <a:ln>
            <a:noFill/>
          </a:ln>
          <a:effectLst/>
        </p:spPr>
        <p:txBody>
          <a:bodyPr vert="horz" wrap="square" lIns="42863" tIns="21431" rIns="42863" bIns="21431" numCol="1" anchor="t" anchorCtr="0" compatLnSpc="1">
            <a:prstTxWarp prst="textNoShape">
              <a:avLst/>
            </a:prstTxWarp>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685783">
              <a:defRPr/>
            </a:pPr>
            <a:endParaRPr lang="en-US" sz="1013" b="1">
              <a:solidFill>
                <a:prstClr val="black"/>
              </a:solidFill>
              <a:latin typeface="Franklin Gothic Book" panose="020B0503020102020204"/>
            </a:endParaRPr>
          </a:p>
        </p:txBody>
      </p:sp>
      <p:sp>
        <p:nvSpPr>
          <p:cNvPr id="3" name="Shape3_20210625_204930">
            <a:extLst>
              <a:ext uri="{FF2B5EF4-FFF2-40B4-BE49-F238E27FC236}">
                <a16:creationId xmlns:a16="http://schemas.microsoft.com/office/drawing/2014/main" id="{4E4F05A8-73B9-44B8-8B36-59E258224763}"/>
              </a:ext>
            </a:extLst>
          </p:cNvPr>
          <p:cNvSpPr/>
          <p:nvPr>
            <p:custDataLst>
              <p:tags r:id="rId21"/>
            </p:custDataLst>
          </p:nvPr>
        </p:nvSpPr>
        <p:spPr>
          <a:xfrm>
            <a:off x="3751988" y="1179178"/>
            <a:ext cx="1607746" cy="623984"/>
          </a:xfrm>
          <a:custGeom>
            <a:avLst/>
            <a:gdLst>
              <a:gd name="T0" fmla="*/ 820 w 1308"/>
              <a:gd name="T1" fmla="*/ 419 h 507"/>
              <a:gd name="T2" fmla="*/ 1046 w 1308"/>
              <a:gd name="T3" fmla="*/ 507 h 507"/>
              <a:gd name="T4" fmla="*/ 1055 w 1308"/>
              <a:gd name="T5" fmla="*/ 507 h 507"/>
              <a:gd name="T6" fmla="*/ 1067 w 1308"/>
              <a:gd name="T7" fmla="*/ 507 h 507"/>
              <a:gd name="T8" fmla="*/ 1074 w 1308"/>
              <a:gd name="T9" fmla="*/ 507 h 507"/>
              <a:gd name="T10" fmla="*/ 1086 w 1308"/>
              <a:gd name="T11" fmla="*/ 506 h 507"/>
              <a:gd name="T12" fmla="*/ 1093 w 1308"/>
              <a:gd name="T13" fmla="*/ 505 h 507"/>
              <a:gd name="T14" fmla="*/ 1105 w 1308"/>
              <a:gd name="T15" fmla="*/ 503 h 507"/>
              <a:gd name="T16" fmla="*/ 1111 w 1308"/>
              <a:gd name="T17" fmla="*/ 501 h 507"/>
              <a:gd name="T18" fmla="*/ 1123 w 1308"/>
              <a:gd name="T19" fmla="*/ 498 h 507"/>
              <a:gd name="T20" fmla="*/ 1135 w 1308"/>
              <a:gd name="T21" fmla="*/ 495 h 507"/>
              <a:gd name="T22" fmla="*/ 1303 w 1308"/>
              <a:gd name="T23" fmla="*/ 306 h 507"/>
              <a:gd name="T24" fmla="*/ 1304 w 1308"/>
              <a:gd name="T25" fmla="*/ 300 h 507"/>
              <a:gd name="T26" fmla="*/ 1307 w 1308"/>
              <a:gd name="T27" fmla="*/ 280 h 507"/>
              <a:gd name="T28" fmla="*/ 1308 w 1308"/>
              <a:gd name="T29" fmla="*/ 274 h 507"/>
              <a:gd name="T30" fmla="*/ 1308 w 1308"/>
              <a:gd name="T31" fmla="*/ 254 h 507"/>
              <a:gd name="T32" fmla="*/ 1308 w 1308"/>
              <a:gd name="T33" fmla="*/ 247 h 507"/>
              <a:gd name="T34" fmla="*/ 1307 w 1308"/>
              <a:gd name="T35" fmla="*/ 227 h 507"/>
              <a:gd name="T36" fmla="*/ 1305 w 1308"/>
              <a:gd name="T37" fmla="*/ 214 h 507"/>
              <a:gd name="T38" fmla="*/ 1303 w 1308"/>
              <a:gd name="T39" fmla="*/ 201 h 507"/>
              <a:gd name="T40" fmla="*/ 1299 w 1308"/>
              <a:gd name="T41" fmla="*/ 183 h 507"/>
              <a:gd name="T42" fmla="*/ 1123 w 1308"/>
              <a:gd name="T43" fmla="*/ 9 h 507"/>
              <a:gd name="T44" fmla="*/ 1117 w 1308"/>
              <a:gd name="T45" fmla="*/ 7 h 507"/>
              <a:gd name="T46" fmla="*/ 1105 w 1308"/>
              <a:gd name="T47" fmla="*/ 5 h 507"/>
              <a:gd name="T48" fmla="*/ 1099 w 1308"/>
              <a:gd name="T49" fmla="*/ 4 h 507"/>
              <a:gd name="T50" fmla="*/ 1086 w 1308"/>
              <a:gd name="T51" fmla="*/ 2 h 507"/>
              <a:gd name="T52" fmla="*/ 1080 w 1308"/>
              <a:gd name="T53" fmla="*/ 1 h 507"/>
              <a:gd name="T54" fmla="*/ 1067 w 1308"/>
              <a:gd name="T55" fmla="*/ 0 h 507"/>
              <a:gd name="T56" fmla="*/ 1061 w 1308"/>
              <a:gd name="T57" fmla="*/ 0 h 507"/>
              <a:gd name="T58" fmla="*/ 1053 w 1308"/>
              <a:gd name="T59" fmla="*/ 0 h 507"/>
              <a:gd name="T60" fmla="*/ 1047 w 1308"/>
              <a:gd name="T61" fmla="*/ 0 h 507"/>
              <a:gd name="T62" fmla="*/ 489 w 1308"/>
              <a:gd name="T63" fmla="*/ 89 h 507"/>
              <a:gd name="T64" fmla="*/ 262 w 1308"/>
              <a:gd name="T65" fmla="*/ 0 h 507"/>
              <a:gd name="T66" fmla="*/ 254 w 1308"/>
              <a:gd name="T67" fmla="*/ 0 h 507"/>
              <a:gd name="T68" fmla="*/ 241 w 1308"/>
              <a:gd name="T69" fmla="*/ 0 h 507"/>
              <a:gd name="T70" fmla="*/ 234 w 1308"/>
              <a:gd name="T71" fmla="*/ 1 h 507"/>
              <a:gd name="T72" fmla="*/ 222 w 1308"/>
              <a:gd name="T73" fmla="*/ 2 h 507"/>
              <a:gd name="T74" fmla="*/ 215 w 1308"/>
              <a:gd name="T75" fmla="*/ 3 h 507"/>
              <a:gd name="T76" fmla="*/ 203 w 1308"/>
              <a:gd name="T77" fmla="*/ 5 h 507"/>
              <a:gd name="T78" fmla="*/ 197 w 1308"/>
              <a:gd name="T79" fmla="*/ 6 h 507"/>
              <a:gd name="T80" fmla="*/ 185 w 1308"/>
              <a:gd name="T81" fmla="*/ 9 h 507"/>
              <a:gd name="T82" fmla="*/ 173 w 1308"/>
              <a:gd name="T83" fmla="*/ 13 h 507"/>
              <a:gd name="T84" fmla="*/ 5 w 1308"/>
              <a:gd name="T85" fmla="*/ 201 h 507"/>
              <a:gd name="T86" fmla="*/ 4 w 1308"/>
              <a:gd name="T87" fmla="*/ 208 h 507"/>
              <a:gd name="T88" fmla="*/ 1 w 1308"/>
              <a:gd name="T89" fmla="*/ 227 h 507"/>
              <a:gd name="T90" fmla="*/ 0 w 1308"/>
              <a:gd name="T91" fmla="*/ 234 h 507"/>
              <a:gd name="T92" fmla="*/ 0 w 1308"/>
              <a:gd name="T93" fmla="*/ 254 h 507"/>
              <a:gd name="T94" fmla="*/ 0 w 1308"/>
              <a:gd name="T95" fmla="*/ 260 h 507"/>
              <a:gd name="T96" fmla="*/ 1 w 1308"/>
              <a:gd name="T97" fmla="*/ 280 h 507"/>
              <a:gd name="T98" fmla="*/ 3 w 1308"/>
              <a:gd name="T99" fmla="*/ 293 h 507"/>
              <a:gd name="T100" fmla="*/ 5 w 1308"/>
              <a:gd name="T101" fmla="*/ 306 h 507"/>
              <a:gd name="T102" fmla="*/ 9 w 1308"/>
              <a:gd name="T103" fmla="*/ 324 h 507"/>
              <a:gd name="T104" fmla="*/ 185 w 1308"/>
              <a:gd name="T105" fmla="*/ 498 h 507"/>
              <a:gd name="T106" fmla="*/ 191 w 1308"/>
              <a:gd name="T107" fmla="*/ 500 h 507"/>
              <a:gd name="T108" fmla="*/ 203 w 1308"/>
              <a:gd name="T109" fmla="*/ 503 h 507"/>
              <a:gd name="T110" fmla="*/ 209 w 1308"/>
              <a:gd name="T111" fmla="*/ 504 h 507"/>
              <a:gd name="T112" fmla="*/ 222 w 1308"/>
              <a:gd name="T113" fmla="*/ 506 h 507"/>
              <a:gd name="T114" fmla="*/ 228 w 1308"/>
              <a:gd name="T115" fmla="*/ 506 h 507"/>
              <a:gd name="T116" fmla="*/ 241 w 1308"/>
              <a:gd name="T117" fmla="*/ 507 h 507"/>
              <a:gd name="T118" fmla="*/ 247 w 1308"/>
              <a:gd name="T119" fmla="*/ 507 h 507"/>
              <a:gd name="T120" fmla="*/ 254 w 1308"/>
              <a:gd name="T121" fmla="*/ 507 h 507"/>
              <a:gd name="T122" fmla="*/ 268 w 1308"/>
              <a:gd name="T123" fmla="*/ 507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08" h="507">
                <a:moveTo>
                  <a:pt x="489" y="418"/>
                </a:moveTo>
                <a:cubicBezTo>
                  <a:pt x="533" y="400"/>
                  <a:pt x="584" y="387"/>
                  <a:pt x="652" y="386"/>
                </a:cubicBezTo>
                <a:cubicBezTo>
                  <a:pt x="722" y="386"/>
                  <a:pt x="775" y="400"/>
                  <a:pt x="820" y="419"/>
                </a:cubicBezTo>
                <a:cubicBezTo>
                  <a:pt x="896" y="454"/>
                  <a:pt x="950" y="502"/>
                  <a:pt x="1039" y="507"/>
                </a:cubicBezTo>
                <a:cubicBezTo>
                  <a:pt x="1041" y="507"/>
                  <a:pt x="1043" y="507"/>
                  <a:pt x="1044" y="507"/>
                </a:cubicBezTo>
                <a:cubicBezTo>
                  <a:pt x="1046" y="507"/>
                  <a:pt x="1046" y="507"/>
                  <a:pt x="1046" y="507"/>
                </a:cubicBezTo>
                <a:cubicBezTo>
                  <a:pt x="1049" y="507"/>
                  <a:pt x="1052" y="507"/>
                  <a:pt x="1054" y="507"/>
                </a:cubicBezTo>
                <a:cubicBezTo>
                  <a:pt x="1055" y="507"/>
                  <a:pt x="1055" y="507"/>
                  <a:pt x="1055" y="507"/>
                </a:cubicBezTo>
                <a:cubicBezTo>
                  <a:pt x="1055" y="507"/>
                  <a:pt x="1055" y="507"/>
                  <a:pt x="1055" y="507"/>
                </a:cubicBezTo>
                <a:cubicBezTo>
                  <a:pt x="1057" y="507"/>
                  <a:pt x="1059" y="507"/>
                  <a:pt x="1061" y="507"/>
                </a:cubicBezTo>
                <a:cubicBezTo>
                  <a:pt x="1061" y="507"/>
                  <a:pt x="1061" y="507"/>
                  <a:pt x="1061" y="507"/>
                </a:cubicBezTo>
                <a:cubicBezTo>
                  <a:pt x="1063" y="507"/>
                  <a:pt x="1065" y="507"/>
                  <a:pt x="1067" y="507"/>
                </a:cubicBezTo>
                <a:cubicBezTo>
                  <a:pt x="1067" y="507"/>
                  <a:pt x="1067" y="507"/>
                  <a:pt x="1067" y="507"/>
                </a:cubicBezTo>
                <a:cubicBezTo>
                  <a:pt x="1069" y="507"/>
                  <a:pt x="1072" y="507"/>
                  <a:pt x="1074" y="507"/>
                </a:cubicBezTo>
                <a:cubicBezTo>
                  <a:pt x="1074" y="507"/>
                  <a:pt x="1074" y="507"/>
                  <a:pt x="1074" y="507"/>
                </a:cubicBezTo>
                <a:cubicBezTo>
                  <a:pt x="1076" y="507"/>
                  <a:pt x="1078" y="506"/>
                  <a:pt x="1080" y="506"/>
                </a:cubicBezTo>
                <a:cubicBezTo>
                  <a:pt x="1080" y="506"/>
                  <a:pt x="1080" y="506"/>
                  <a:pt x="1080" y="506"/>
                </a:cubicBezTo>
                <a:cubicBezTo>
                  <a:pt x="1082" y="506"/>
                  <a:pt x="1084" y="506"/>
                  <a:pt x="1086" y="506"/>
                </a:cubicBezTo>
                <a:cubicBezTo>
                  <a:pt x="1086" y="506"/>
                  <a:pt x="1086" y="506"/>
                  <a:pt x="1086" y="506"/>
                </a:cubicBezTo>
                <a:cubicBezTo>
                  <a:pt x="1088" y="505"/>
                  <a:pt x="1091" y="505"/>
                  <a:pt x="1093" y="505"/>
                </a:cubicBezTo>
                <a:cubicBezTo>
                  <a:pt x="1093" y="505"/>
                  <a:pt x="1093" y="505"/>
                  <a:pt x="1093" y="505"/>
                </a:cubicBezTo>
                <a:cubicBezTo>
                  <a:pt x="1095" y="504"/>
                  <a:pt x="1097" y="504"/>
                  <a:pt x="1099" y="504"/>
                </a:cubicBezTo>
                <a:cubicBezTo>
                  <a:pt x="1099" y="504"/>
                  <a:pt x="1099" y="504"/>
                  <a:pt x="1099" y="504"/>
                </a:cubicBezTo>
                <a:cubicBezTo>
                  <a:pt x="1101" y="503"/>
                  <a:pt x="1103" y="503"/>
                  <a:pt x="1105" y="503"/>
                </a:cubicBezTo>
                <a:cubicBezTo>
                  <a:pt x="1105" y="503"/>
                  <a:pt x="1105" y="503"/>
                  <a:pt x="1105" y="503"/>
                </a:cubicBezTo>
                <a:cubicBezTo>
                  <a:pt x="1107" y="502"/>
                  <a:pt x="1109" y="502"/>
                  <a:pt x="1111" y="501"/>
                </a:cubicBezTo>
                <a:cubicBezTo>
                  <a:pt x="1111" y="501"/>
                  <a:pt x="1111" y="501"/>
                  <a:pt x="1111" y="501"/>
                </a:cubicBezTo>
                <a:cubicBezTo>
                  <a:pt x="1113" y="501"/>
                  <a:pt x="1115" y="500"/>
                  <a:pt x="1117" y="500"/>
                </a:cubicBezTo>
                <a:cubicBezTo>
                  <a:pt x="1117" y="500"/>
                  <a:pt x="1117" y="500"/>
                  <a:pt x="1117" y="500"/>
                </a:cubicBezTo>
                <a:cubicBezTo>
                  <a:pt x="1119" y="499"/>
                  <a:pt x="1121" y="499"/>
                  <a:pt x="1123" y="498"/>
                </a:cubicBezTo>
                <a:cubicBezTo>
                  <a:pt x="1123" y="498"/>
                  <a:pt x="1123" y="498"/>
                  <a:pt x="1123" y="498"/>
                </a:cubicBezTo>
                <a:cubicBezTo>
                  <a:pt x="1127" y="497"/>
                  <a:pt x="1131" y="496"/>
                  <a:pt x="1135" y="495"/>
                </a:cubicBezTo>
                <a:cubicBezTo>
                  <a:pt x="1135" y="495"/>
                  <a:pt x="1135" y="495"/>
                  <a:pt x="1135" y="495"/>
                </a:cubicBezTo>
                <a:cubicBezTo>
                  <a:pt x="1213" y="468"/>
                  <a:pt x="1275" y="406"/>
                  <a:pt x="1299" y="324"/>
                </a:cubicBezTo>
                <a:cubicBezTo>
                  <a:pt x="1299" y="324"/>
                  <a:pt x="1299" y="324"/>
                  <a:pt x="1299" y="324"/>
                </a:cubicBezTo>
                <a:cubicBezTo>
                  <a:pt x="1300" y="318"/>
                  <a:pt x="1302" y="312"/>
                  <a:pt x="1303" y="306"/>
                </a:cubicBezTo>
                <a:cubicBezTo>
                  <a:pt x="1303" y="306"/>
                  <a:pt x="1303" y="306"/>
                  <a:pt x="1303" y="306"/>
                </a:cubicBezTo>
                <a:cubicBezTo>
                  <a:pt x="1304" y="304"/>
                  <a:pt x="1304" y="302"/>
                  <a:pt x="1304" y="300"/>
                </a:cubicBezTo>
                <a:cubicBezTo>
                  <a:pt x="1304" y="300"/>
                  <a:pt x="1304" y="300"/>
                  <a:pt x="1304" y="300"/>
                </a:cubicBezTo>
                <a:cubicBezTo>
                  <a:pt x="1305" y="297"/>
                  <a:pt x="1305" y="295"/>
                  <a:pt x="1305" y="293"/>
                </a:cubicBezTo>
                <a:cubicBezTo>
                  <a:pt x="1305" y="293"/>
                  <a:pt x="1305" y="293"/>
                  <a:pt x="1305" y="293"/>
                </a:cubicBezTo>
                <a:cubicBezTo>
                  <a:pt x="1306" y="289"/>
                  <a:pt x="1307" y="285"/>
                  <a:pt x="1307" y="280"/>
                </a:cubicBezTo>
                <a:cubicBezTo>
                  <a:pt x="1307" y="280"/>
                  <a:pt x="1307" y="280"/>
                  <a:pt x="1307" y="280"/>
                </a:cubicBezTo>
                <a:cubicBezTo>
                  <a:pt x="1307" y="278"/>
                  <a:pt x="1307" y="276"/>
                  <a:pt x="1308" y="274"/>
                </a:cubicBezTo>
                <a:cubicBezTo>
                  <a:pt x="1308" y="274"/>
                  <a:pt x="1308" y="274"/>
                  <a:pt x="1308" y="274"/>
                </a:cubicBezTo>
                <a:cubicBezTo>
                  <a:pt x="1308" y="269"/>
                  <a:pt x="1308" y="265"/>
                  <a:pt x="1308" y="260"/>
                </a:cubicBezTo>
                <a:cubicBezTo>
                  <a:pt x="1308" y="260"/>
                  <a:pt x="1308" y="260"/>
                  <a:pt x="1308" y="260"/>
                </a:cubicBezTo>
                <a:cubicBezTo>
                  <a:pt x="1308" y="258"/>
                  <a:pt x="1308" y="256"/>
                  <a:pt x="1308" y="254"/>
                </a:cubicBezTo>
                <a:cubicBezTo>
                  <a:pt x="1308" y="254"/>
                  <a:pt x="1308" y="254"/>
                  <a:pt x="1308" y="254"/>
                </a:cubicBezTo>
                <a:cubicBezTo>
                  <a:pt x="1308" y="251"/>
                  <a:pt x="1308" y="249"/>
                  <a:pt x="1308" y="247"/>
                </a:cubicBezTo>
                <a:cubicBezTo>
                  <a:pt x="1308" y="247"/>
                  <a:pt x="1308" y="247"/>
                  <a:pt x="1308" y="247"/>
                </a:cubicBezTo>
                <a:cubicBezTo>
                  <a:pt x="1308" y="243"/>
                  <a:pt x="1308" y="238"/>
                  <a:pt x="1308" y="234"/>
                </a:cubicBezTo>
                <a:cubicBezTo>
                  <a:pt x="1308" y="234"/>
                  <a:pt x="1308" y="234"/>
                  <a:pt x="1308" y="234"/>
                </a:cubicBezTo>
                <a:cubicBezTo>
                  <a:pt x="1307" y="231"/>
                  <a:pt x="1307" y="229"/>
                  <a:pt x="1307" y="227"/>
                </a:cubicBezTo>
                <a:cubicBezTo>
                  <a:pt x="1307" y="227"/>
                  <a:pt x="1307" y="227"/>
                  <a:pt x="1307" y="227"/>
                </a:cubicBezTo>
                <a:cubicBezTo>
                  <a:pt x="1307" y="223"/>
                  <a:pt x="1306" y="218"/>
                  <a:pt x="1305" y="214"/>
                </a:cubicBezTo>
                <a:cubicBezTo>
                  <a:pt x="1305" y="214"/>
                  <a:pt x="1305" y="214"/>
                  <a:pt x="1305" y="214"/>
                </a:cubicBezTo>
                <a:cubicBezTo>
                  <a:pt x="1305" y="212"/>
                  <a:pt x="1305" y="210"/>
                  <a:pt x="1304" y="208"/>
                </a:cubicBezTo>
                <a:cubicBezTo>
                  <a:pt x="1304" y="208"/>
                  <a:pt x="1304" y="208"/>
                  <a:pt x="1304" y="208"/>
                </a:cubicBezTo>
                <a:cubicBezTo>
                  <a:pt x="1304" y="206"/>
                  <a:pt x="1304" y="204"/>
                  <a:pt x="1303" y="201"/>
                </a:cubicBezTo>
                <a:cubicBezTo>
                  <a:pt x="1303" y="201"/>
                  <a:pt x="1303" y="201"/>
                  <a:pt x="1303" y="201"/>
                </a:cubicBezTo>
                <a:cubicBezTo>
                  <a:pt x="1302" y="195"/>
                  <a:pt x="1300" y="189"/>
                  <a:pt x="1299" y="183"/>
                </a:cubicBezTo>
                <a:cubicBezTo>
                  <a:pt x="1299" y="183"/>
                  <a:pt x="1299" y="183"/>
                  <a:pt x="1299" y="183"/>
                </a:cubicBezTo>
                <a:cubicBezTo>
                  <a:pt x="1275" y="102"/>
                  <a:pt x="1213" y="39"/>
                  <a:pt x="1135" y="13"/>
                </a:cubicBezTo>
                <a:cubicBezTo>
                  <a:pt x="1135" y="13"/>
                  <a:pt x="1135" y="13"/>
                  <a:pt x="1135" y="13"/>
                </a:cubicBezTo>
                <a:cubicBezTo>
                  <a:pt x="1131" y="11"/>
                  <a:pt x="1127" y="10"/>
                  <a:pt x="1123" y="9"/>
                </a:cubicBezTo>
                <a:cubicBezTo>
                  <a:pt x="1123" y="9"/>
                  <a:pt x="1123" y="9"/>
                  <a:pt x="1123" y="9"/>
                </a:cubicBezTo>
                <a:cubicBezTo>
                  <a:pt x="1121" y="9"/>
                  <a:pt x="1119" y="8"/>
                  <a:pt x="1117" y="7"/>
                </a:cubicBezTo>
                <a:cubicBezTo>
                  <a:pt x="1117" y="7"/>
                  <a:pt x="1117" y="7"/>
                  <a:pt x="1117" y="7"/>
                </a:cubicBezTo>
                <a:cubicBezTo>
                  <a:pt x="1115" y="7"/>
                  <a:pt x="1113" y="7"/>
                  <a:pt x="1111" y="6"/>
                </a:cubicBezTo>
                <a:cubicBezTo>
                  <a:pt x="1111" y="6"/>
                  <a:pt x="1111" y="6"/>
                  <a:pt x="1111" y="6"/>
                </a:cubicBezTo>
                <a:cubicBezTo>
                  <a:pt x="1109" y="6"/>
                  <a:pt x="1107" y="5"/>
                  <a:pt x="1105" y="5"/>
                </a:cubicBezTo>
                <a:cubicBezTo>
                  <a:pt x="1105" y="5"/>
                  <a:pt x="1105" y="5"/>
                  <a:pt x="1105" y="5"/>
                </a:cubicBezTo>
                <a:cubicBezTo>
                  <a:pt x="1103" y="4"/>
                  <a:pt x="1101" y="4"/>
                  <a:pt x="1099" y="4"/>
                </a:cubicBezTo>
                <a:cubicBezTo>
                  <a:pt x="1099" y="4"/>
                  <a:pt x="1099" y="4"/>
                  <a:pt x="1099" y="4"/>
                </a:cubicBezTo>
                <a:cubicBezTo>
                  <a:pt x="1097" y="3"/>
                  <a:pt x="1095" y="3"/>
                  <a:pt x="1093" y="3"/>
                </a:cubicBezTo>
                <a:cubicBezTo>
                  <a:pt x="1093" y="3"/>
                  <a:pt x="1093" y="3"/>
                  <a:pt x="1093" y="3"/>
                </a:cubicBezTo>
                <a:cubicBezTo>
                  <a:pt x="1091" y="2"/>
                  <a:pt x="1088" y="2"/>
                  <a:pt x="1086" y="2"/>
                </a:cubicBezTo>
                <a:cubicBezTo>
                  <a:pt x="1086" y="2"/>
                  <a:pt x="1086" y="2"/>
                  <a:pt x="1086" y="2"/>
                </a:cubicBezTo>
                <a:cubicBezTo>
                  <a:pt x="1084" y="1"/>
                  <a:pt x="1082" y="1"/>
                  <a:pt x="1080" y="1"/>
                </a:cubicBezTo>
                <a:cubicBezTo>
                  <a:pt x="1080" y="1"/>
                  <a:pt x="1080" y="1"/>
                  <a:pt x="1080" y="1"/>
                </a:cubicBezTo>
                <a:cubicBezTo>
                  <a:pt x="1078" y="1"/>
                  <a:pt x="1076" y="1"/>
                  <a:pt x="1074" y="1"/>
                </a:cubicBezTo>
                <a:cubicBezTo>
                  <a:pt x="1074" y="1"/>
                  <a:pt x="1074" y="1"/>
                  <a:pt x="1074" y="1"/>
                </a:cubicBezTo>
                <a:cubicBezTo>
                  <a:pt x="1072" y="0"/>
                  <a:pt x="1069" y="0"/>
                  <a:pt x="1067" y="0"/>
                </a:cubicBezTo>
                <a:cubicBezTo>
                  <a:pt x="1067" y="0"/>
                  <a:pt x="1067" y="0"/>
                  <a:pt x="1067" y="0"/>
                </a:cubicBezTo>
                <a:cubicBezTo>
                  <a:pt x="1065" y="0"/>
                  <a:pt x="1063" y="0"/>
                  <a:pt x="1061" y="0"/>
                </a:cubicBezTo>
                <a:cubicBezTo>
                  <a:pt x="1061" y="0"/>
                  <a:pt x="1061" y="0"/>
                  <a:pt x="1061" y="0"/>
                </a:cubicBezTo>
                <a:cubicBezTo>
                  <a:pt x="1059" y="0"/>
                  <a:pt x="1057" y="0"/>
                  <a:pt x="1055" y="0"/>
                </a:cubicBezTo>
                <a:cubicBezTo>
                  <a:pt x="1055" y="0"/>
                  <a:pt x="1055" y="0"/>
                  <a:pt x="1055" y="0"/>
                </a:cubicBezTo>
                <a:cubicBezTo>
                  <a:pt x="1053" y="0"/>
                  <a:pt x="1053" y="0"/>
                  <a:pt x="1053" y="0"/>
                </a:cubicBezTo>
                <a:cubicBezTo>
                  <a:pt x="1052" y="0"/>
                  <a:pt x="1051" y="0"/>
                  <a:pt x="1051" y="0"/>
                </a:cubicBezTo>
                <a:cubicBezTo>
                  <a:pt x="1050" y="0"/>
                  <a:pt x="1048" y="0"/>
                  <a:pt x="1047" y="0"/>
                </a:cubicBezTo>
                <a:cubicBezTo>
                  <a:pt x="1047" y="0"/>
                  <a:pt x="1047" y="0"/>
                  <a:pt x="1047" y="0"/>
                </a:cubicBezTo>
                <a:cubicBezTo>
                  <a:pt x="953" y="2"/>
                  <a:pt x="898" y="53"/>
                  <a:pt x="820" y="88"/>
                </a:cubicBezTo>
                <a:cubicBezTo>
                  <a:pt x="775" y="107"/>
                  <a:pt x="723" y="121"/>
                  <a:pt x="653" y="122"/>
                </a:cubicBezTo>
                <a:cubicBezTo>
                  <a:pt x="585" y="121"/>
                  <a:pt x="533" y="107"/>
                  <a:pt x="489" y="89"/>
                </a:cubicBezTo>
                <a:cubicBezTo>
                  <a:pt x="412" y="54"/>
                  <a:pt x="359" y="5"/>
                  <a:pt x="268" y="0"/>
                </a:cubicBezTo>
                <a:cubicBezTo>
                  <a:pt x="267" y="0"/>
                  <a:pt x="265" y="0"/>
                  <a:pt x="264" y="0"/>
                </a:cubicBezTo>
                <a:cubicBezTo>
                  <a:pt x="262" y="0"/>
                  <a:pt x="262" y="0"/>
                  <a:pt x="262" y="0"/>
                </a:cubicBezTo>
                <a:cubicBezTo>
                  <a:pt x="259" y="0"/>
                  <a:pt x="256" y="0"/>
                  <a:pt x="254" y="0"/>
                </a:cubicBezTo>
                <a:cubicBezTo>
                  <a:pt x="254" y="0"/>
                  <a:pt x="254" y="0"/>
                  <a:pt x="254" y="0"/>
                </a:cubicBezTo>
                <a:cubicBezTo>
                  <a:pt x="254" y="0"/>
                  <a:pt x="254" y="0"/>
                  <a:pt x="254" y="0"/>
                </a:cubicBezTo>
                <a:cubicBezTo>
                  <a:pt x="251" y="0"/>
                  <a:pt x="249" y="0"/>
                  <a:pt x="247" y="0"/>
                </a:cubicBezTo>
                <a:cubicBezTo>
                  <a:pt x="247" y="0"/>
                  <a:pt x="247" y="0"/>
                  <a:pt x="247" y="0"/>
                </a:cubicBezTo>
                <a:cubicBezTo>
                  <a:pt x="245" y="0"/>
                  <a:pt x="243" y="0"/>
                  <a:pt x="241" y="0"/>
                </a:cubicBezTo>
                <a:cubicBezTo>
                  <a:pt x="241" y="0"/>
                  <a:pt x="241" y="0"/>
                  <a:pt x="241" y="0"/>
                </a:cubicBezTo>
                <a:cubicBezTo>
                  <a:pt x="239" y="0"/>
                  <a:pt x="236" y="0"/>
                  <a:pt x="234" y="1"/>
                </a:cubicBezTo>
                <a:cubicBezTo>
                  <a:pt x="234" y="1"/>
                  <a:pt x="234" y="1"/>
                  <a:pt x="234" y="1"/>
                </a:cubicBezTo>
                <a:cubicBezTo>
                  <a:pt x="232" y="1"/>
                  <a:pt x="230" y="1"/>
                  <a:pt x="228" y="1"/>
                </a:cubicBezTo>
                <a:cubicBezTo>
                  <a:pt x="228" y="1"/>
                  <a:pt x="228" y="1"/>
                  <a:pt x="228" y="1"/>
                </a:cubicBezTo>
                <a:cubicBezTo>
                  <a:pt x="226" y="1"/>
                  <a:pt x="224" y="1"/>
                  <a:pt x="222" y="2"/>
                </a:cubicBezTo>
                <a:cubicBezTo>
                  <a:pt x="222" y="2"/>
                  <a:pt x="222" y="2"/>
                  <a:pt x="222" y="2"/>
                </a:cubicBezTo>
                <a:cubicBezTo>
                  <a:pt x="220" y="2"/>
                  <a:pt x="218" y="2"/>
                  <a:pt x="215" y="3"/>
                </a:cubicBezTo>
                <a:cubicBezTo>
                  <a:pt x="215" y="3"/>
                  <a:pt x="215" y="3"/>
                  <a:pt x="215" y="3"/>
                </a:cubicBezTo>
                <a:cubicBezTo>
                  <a:pt x="213" y="3"/>
                  <a:pt x="211" y="3"/>
                  <a:pt x="209" y="4"/>
                </a:cubicBezTo>
                <a:cubicBezTo>
                  <a:pt x="209" y="4"/>
                  <a:pt x="209" y="4"/>
                  <a:pt x="209" y="4"/>
                </a:cubicBezTo>
                <a:cubicBezTo>
                  <a:pt x="207" y="4"/>
                  <a:pt x="205" y="4"/>
                  <a:pt x="203" y="5"/>
                </a:cubicBezTo>
                <a:cubicBezTo>
                  <a:pt x="203" y="5"/>
                  <a:pt x="203" y="5"/>
                  <a:pt x="203" y="5"/>
                </a:cubicBezTo>
                <a:cubicBezTo>
                  <a:pt x="201" y="5"/>
                  <a:pt x="199" y="6"/>
                  <a:pt x="197" y="6"/>
                </a:cubicBezTo>
                <a:cubicBezTo>
                  <a:pt x="197" y="6"/>
                  <a:pt x="197" y="6"/>
                  <a:pt x="197" y="6"/>
                </a:cubicBezTo>
                <a:cubicBezTo>
                  <a:pt x="195" y="7"/>
                  <a:pt x="193" y="7"/>
                  <a:pt x="191" y="7"/>
                </a:cubicBezTo>
                <a:cubicBezTo>
                  <a:pt x="191" y="7"/>
                  <a:pt x="191" y="7"/>
                  <a:pt x="191" y="7"/>
                </a:cubicBezTo>
                <a:cubicBezTo>
                  <a:pt x="189" y="8"/>
                  <a:pt x="187" y="9"/>
                  <a:pt x="185" y="9"/>
                </a:cubicBezTo>
                <a:cubicBezTo>
                  <a:pt x="185" y="9"/>
                  <a:pt x="185" y="9"/>
                  <a:pt x="185" y="9"/>
                </a:cubicBezTo>
                <a:cubicBezTo>
                  <a:pt x="181" y="10"/>
                  <a:pt x="177" y="11"/>
                  <a:pt x="173" y="13"/>
                </a:cubicBezTo>
                <a:cubicBezTo>
                  <a:pt x="173" y="13"/>
                  <a:pt x="173" y="13"/>
                  <a:pt x="173" y="13"/>
                </a:cubicBezTo>
                <a:cubicBezTo>
                  <a:pt x="95" y="39"/>
                  <a:pt x="33" y="102"/>
                  <a:pt x="9" y="183"/>
                </a:cubicBezTo>
                <a:cubicBezTo>
                  <a:pt x="9" y="183"/>
                  <a:pt x="9" y="183"/>
                  <a:pt x="9" y="183"/>
                </a:cubicBezTo>
                <a:cubicBezTo>
                  <a:pt x="8" y="189"/>
                  <a:pt x="6" y="195"/>
                  <a:pt x="5" y="201"/>
                </a:cubicBezTo>
                <a:cubicBezTo>
                  <a:pt x="5" y="201"/>
                  <a:pt x="5" y="201"/>
                  <a:pt x="5" y="201"/>
                </a:cubicBezTo>
                <a:cubicBezTo>
                  <a:pt x="4" y="204"/>
                  <a:pt x="4" y="206"/>
                  <a:pt x="4" y="208"/>
                </a:cubicBezTo>
                <a:cubicBezTo>
                  <a:pt x="4" y="208"/>
                  <a:pt x="4" y="208"/>
                  <a:pt x="4" y="208"/>
                </a:cubicBezTo>
                <a:cubicBezTo>
                  <a:pt x="3" y="210"/>
                  <a:pt x="3" y="212"/>
                  <a:pt x="3" y="214"/>
                </a:cubicBezTo>
                <a:cubicBezTo>
                  <a:pt x="3" y="214"/>
                  <a:pt x="3" y="214"/>
                  <a:pt x="3" y="214"/>
                </a:cubicBezTo>
                <a:cubicBezTo>
                  <a:pt x="2" y="218"/>
                  <a:pt x="1" y="223"/>
                  <a:pt x="1" y="227"/>
                </a:cubicBezTo>
                <a:cubicBezTo>
                  <a:pt x="1" y="227"/>
                  <a:pt x="1" y="227"/>
                  <a:pt x="1" y="227"/>
                </a:cubicBezTo>
                <a:cubicBezTo>
                  <a:pt x="1" y="229"/>
                  <a:pt x="1" y="231"/>
                  <a:pt x="0" y="234"/>
                </a:cubicBezTo>
                <a:cubicBezTo>
                  <a:pt x="0" y="234"/>
                  <a:pt x="0" y="234"/>
                  <a:pt x="0" y="234"/>
                </a:cubicBezTo>
                <a:cubicBezTo>
                  <a:pt x="0" y="238"/>
                  <a:pt x="0" y="243"/>
                  <a:pt x="0" y="247"/>
                </a:cubicBezTo>
                <a:cubicBezTo>
                  <a:pt x="0" y="247"/>
                  <a:pt x="0" y="247"/>
                  <a:pt x="0" y="247"/>
                </a:cubicBezTo>
                <a:cubicBezTo>
                  <a:pt x="0" y="249"/>
                  <a:pt x="0" y="251"/>
                  <a:pt x="0" y="254"/>
                </a:cubicBezTo>
                <a:cubicBezTo>
                  <a:pt x="0" y="254"/>
                  <a:pt x="0" y="254"/>
                  <a:pt x="0" y="254"/>
                </a:cubicBezTo>
                <a:cubicBezTo>
                  <a:pt x="0" y="256"/>
                  <a:pt x="0" y="258"/>
                  <a:pt x="0" y="260"/>
                </a:cubicBezTo>
                <a:cubicBezTo>
                  <a:pt x="0" y="260"/>
                  <a:pt x="0" y="260"/>
                  <a:pt x="0" y="260"/>
                </a:cubicBezTo>
                <a:cubicBezTo>
                  <a:pt x="0" y="265"/>
                  <a:pt x="0" y="269"/>
                  <a:pt x="0" y="274"/>
                </a:cubicBezTo>
                <a:cubicBezTo>
                  <a:pt x="0" y="274"/>
                  <a:pt x="0" y="274"/>
                  <a:pt x="0" y="274"/>
                </a:cubicBezTo>
                <a:cubicBezTo>
                  <a:pt x="1" y="276"/>
                  <a:pt x="1" y="278"/>
                  <a:pt x="1" y="280"/>
                </a:cubicBezTo>
                <a:cubicBezTo>
                  <a:pt x="1" y="280"/>
                  <a:pt x="1" y="280"/>
                  <a:pt x="1" y="280"/>
                </a:cubicBezTo>
                <a:cubicBezTo>
                  <a:pt x="1" y="285"/>
                  <a:pt x="2" y="289"/>
                  <a:pt x="3" y="293"/>
                </a:cubicBezTo>
                <a:cubicBezTo>
                  <a:pt x="3" y="293"/>
                  <a:pt x="3" y="293"/>
                  <a:pt x="3" y="293"/>
                </a:cubicBezTo>
                <a:cubicBezTo>
                  <a:pt x="3" y="295"/>
                  <a:pt x="3" y="297"/>
                  <a:pt x="4" y="300"/>
                </a:cubicBezTo>
                <a:cubicBezTo>
                  <a:pt x="4" y="300"/>
                  <a:pt x="4" y="300"/>
                  <a:pt x="4" y="300"/>
                </a:cubicBezTo>
                <a:cubicBezTo>
                  <a:pt x="4" y="302"/>
                  <a:pt x="4" y="304"/>
                  <a:pt x="5" y="306"/>
                </a:cubicBezTo>
                <a:cubicBezTo>
                  <a:pt x="5" y="306"/>
                  <a:pt x="5" y="306"/>
                  <a:pt x="5" y="306"/>
                </a:cubicBezTo>
                <a:cubicBezTo>
                  <a:pt x="6" y="312"/>
                  <a:pt x="8" y="318"/>
                  <a:pt x="9" y="324"/>
                </a:cubicBezTo>
                <a:cubicBezTo>
                  <a:pt x="9" y="324"/>
                  <a:pt x="9" y="324"/>
                  <a:pt x="9" y="324"/>
                </a:cubicBezTo>
                <a:cubicBezTo>
                  <a:pt x="33" y="406"/>
                  <a:pt x="95" y="468"/>
                  <a:pt x="173" y="495"/>
                </a:cubicBezTo>
                <a:cubicBezTo>
                  <a:pt x="173" y="495"/>
                  <a:pt x="173" y="495"/>
                  <a:pt x="173" y="495"/>
                </a:cubicBezTo>
                <a:cubicBezTo>
                  <a:pt x="177" y="496"/>
                  <a:pt x="181" y="497"/>
                  <a:pt x="185" y="498"/>
                </a:cubicBezTo>
                <a:cubicBezTo>
                  <a:pt x="185" y="498"/>
                  <a:pt x="185" y="498"/>
                  <a:pt x="185" y="498"/>
                </a:cubicBezTo>
                <a:cubicBezTo>
                  <a:pt x="187" y="499"/>
                  <a:pt x="189" y="499"/>
                  <a:pt x="191" y="500"/>
                </a:cubicBezTo>
                <a:cubicBezTo>
                  <a:pt x="191" y="500"/>
                  <a:pt x="191" y="500"/>
                  <a:pt x="191" y="500"/>
                </a:cubicBezTo>
                <a:cubicBezTo>
                  <a:pt x="193" y="500"/>
                  <a:pt x="195" y="501"/>
                  <a:pt x="197" y="501"/>
                </a:cubicBezTo>
                <a:cubicBezTo>
                  <a:pt x="197" y="501"/>
                  <a:pt x="197" y="501"/>
                  <a:pt x="197" y="501"/>
                </a:cubicBezTo>
                <a:cubicBezTo>
                  <a:pt x="199" y="502"/>
                  <a:pt x="201" y="502"/>
                  <a:pt x="203" y="503"/>
                </a:cubicBezTo>
                <a:cubicBezTo>
                  <a:pt x="203" y="503"/>
                  <a:pt x="203" y="503"/>
                  <a:pt x="203" y="503"/>
                </a:cubicBezTo>
                <a:cubicBezTo>
                  <a:pt x="205" y="503"/>
                  <a:pt x="207" y="503"/>
                  <a:pt x="209" y="504"/>
                </a:cubicBezTo>
                <a:cubicBezTo>
                  <a:pt x="209" y="504"/>
                  <a:pt x="209" y="504"/>
                  <a:pt x="209" y="504"/>
                </a:cubicBezTo>
                <a:cubicBezTo>
                  <a:pt x="211" y="504"/>
                  <a:pt x="213" y="504"/>
                  <a:pt x="215" y="505"/>
                </a:cubicBezTo>
                <a:cubicBezTo>
                  <a:pt x="215" y="505"/>
                  <a:pt x="215" y="505"/>
                  <a:pt x="215" y="505"/>
                </a:cubicBezTo>
                <a:cubicBezTo>
                  <a:pt x="218" y="505"/>
                  <a:pt x="220" y="505"/>
                  <a:pt x="222" y="506"/>
                </a:cubicBezTo>
                <a:cubicBezTo>
                  <a:pt x="222" y="506"/>
                  <a:pt x="222" y="506"/>
                  <a:pt x="222" y="506"/>
                </a:cubicBezTo>
                <a:cubicBezTo>
                  <a:pt x="224" y="506"/>
                  <a:pt x="226" y="506"/>
                  <a:pt x="228" y="506"/>
                </a:cubicBezTo>
                <a:cubicBezTo>
                  <a:pt x="228" y="506"/>
                  <a:pt x="228" y="506"/>
                  <a:pt x="228" y="506"/>
                </a:cubicBezTo>
                <a:cubicBezTo>
                  <a:pt x="230" y="506"/>
                  <a:pt x="232" y="507"/>
                  <a:pt x="234" y="507"/>
                </a:cubicBezTo>
                <a:cubicBezTo>
                  <a:pt x="234" y="507"/>
                  <a:pt x="234" y="507"/>
                  <a:pt x="234" y="507"/>
                </a:cubicBezTo>
                <a:cubicBezTo>
                  <a:pt x="236" y="507"/>
                  <a:pt x="239" y="507"/>
                  <a:pt x="241" y="507"/>
                </a:cubicBezTo>
                <a:cubicBezTo>
                  <a:pt x="241" y="507"/>
                  <a:pt x="241" y="507"/>
                  <a:pt x="241" y="507"/>
                </a:cubicBezTo>
                <a:cubicBezTo>
                  <a:pt x="243" y="507"/>
                  <a:pt x="245" y="507"/>
                  <a:pt x="247" y="507"/>
                </a:cubicBezTo>
                <a:cubicBezTo>
                  <a:pt x="247" y="507"/>
                  <a:pt x="247" y="507"/>
                  <a:pt x="247" y="507"/>
                </a:cubicBezTo>
                <a:cubicBezTo>
                  <a:pt x="249" y="507"/>
                  <a:pt x="251" y="507"/>
                  <a:pt x="254" y="507"/>
                </a:cubicBezTo>
                <a:cubicBezTo>
                  <a:pt x="254" y="507"/>
                  <a:pt x="254" y="507"/>
                  <a:pt x="254" y="507"/>
                </a:cubicBezTo>
                <a:cubicBezTo>
                  <a:pt x="254" y="507"/>
                  <a:pt x="254" y="507"/>
                  <a:pt x="254" y="507"/>
                </a:cubicBezTo>
                <a:cubicBezTo>
                  <a:pt x="256" y="507"/>
                  <a:pt x="259" y="507"/>
                  <a:pt x="262" y="507"/>
                </a:cubicBezTo>
                <a:cubicBezTo>
                  <a:pt x="262" y="507"/>
                  <a:pt x="263" y="507"/>
                  <a:pt x="264" y="507"/>
                </a:cubicBezTo>
                <a:cubicBezTo>
                  <a:pt x="265" y="507"/>
                  <a:pt x="267" y="507"/>
                  <a:pt x="268" y="507"/>
                </a:cubicBezTo>
                <a:cubicBezTo>
                  <a:pt x="359" y="502"/>
                  <a:pt x="412" y="453"/>
                  <a:pt x="489" y="418"/>
                </a:cubicBezTo>
                <a:close/>
              </a:path>
            </a:pathLst>
          </a:custGeom>
          <a:solidFill>
            <a:schemeClr val="accent1">
              <a:lumMod val="100000"/>
            </a:schemeClr>
          </a:solidFill>
          <a:ln>
            <a:noFill/>
          </a:ln>
          <a:effectLst/>
        </p:spPr>
        <p:txBody>
          <a:bodyPr vert="horz" wrap="square" lIns="42863" tIns="21431" rIns="42863" bIns="21431" numCol="1" anchor="t" anchorCtr="0" compatLnSpc="1">
            <a:prstTxWarp prst="textNoShape">
              <a:avLst/>
            </a:prstTxWarp>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685783">
              <a:defRPr/>
            </a:pPr>
            <a:endParaRPr lang="en-US" sz="1013" b="1">
              <a:solidFill>
                <a:prstClr val="black"/>
              </a:solidFill>
              <a:latin typeface="Franklin Gothic Book" panose="020B0503020102020204"/>
            </a:endParaRPr>
          </a:p>
        </p:txBody>
      </p:sp>
      <p:sp>
        <p:nvSpPr>
          <p:cNvPr id="4" name="Freeform 6">
            <a:extLst>
              <a:ext uri="{FF2B5EF4-FFF2-40B4-BE49-F238E27FC236}">
                <a16:creationId xmlns:a16="http://schemas.microsoft.com/office/drawing/2014/main" id="{ED074301-6A04-4EA5-88CD-6AB116FAD328}"/>
              </a:ext>
            </a:extLst>
          </p:cNvPr>
          <p:cNvSpPr/>
          <p:nvPr>
            <p:custDataLst>
              <p:tags r:id="rId22"/>
            </p:custDataLst>
          </p:nvPr>
        </p:nvSpPr>
        <p:spPr>
          <a:xfrm>
            <a:off x="5447570" y="2875460"/>
            <a:ext cx="594471" cy="593069"/>
          </a:xfrm>
          <a:custGeom>
            <a:avLst/>
            <a:gdLst>
              <a:gd name="T0" fmla="*/ 86 w 483"/>
              <a:gd name="T1" fmla="*/ 86 h 483"/>
              <a:gd name="T2" fmla="*/ 397 w 483"/>
              <a:gd name="T3" fmla="*/ 86 h 483"/>
              <a:gd name="T4" fmla="*/ 397 w 483"/>
              <a:gd name="T5" fmla="*/ 397 h 483"/>
              <a:gd name="T6" fmla="*/ 86 w 483"/>
              <a:gd name="T7" fmla="*/ 397 h 483"/>
              <a:gd name="T8" fmla="*/ 86 w 483"/>
              <a:gd name="T9" fmla="*/ 86 h 483"/>
            </a:gdLst>
            <a:ahLst/>
            <a:cxnLst>
              <a:cxn ang="0">
                <a:pos x="T0" y="T1"/>
              </a:cxn>
              <a:cxn ang="0">
                <a:pos x="T2" y="T3"/>
              </a:cxn>
              <a:cxn ang="0">
                <a:pos x="T4" y="T5"/>
              </a:cxn>
              <a:cxn ang="0">
                <a:pos x="T6" y="T7"/>
              </a:cxn>
              <a:cxn ang="0">
                <a:pos x="T8" y="T9"/>
              </a:cxn>
            </a:cxnLst>
            <a:rect l="0" t="0" r="r" b="b"/>
            <a:pathLst>
              <a:path w="482" h="482">
                <a:moveTo>
                  <a:pt x="86" y="86"/>
                </a:moveTo>
                <a:cubicBezTo>
                  <a:pt x="172" y="0"/>
                  <a:pt x="311" y="0"/>
                  <a:pt x="397" y="86"/>
                </a:cubicBezTo>
                <a:cubicBezTo>
                  <a:pt x="483" y="172"/>
                  <a:pt x="483" y="311"/>
                  <a:pt x="397" y="397"/>
                </a:cubicBezTo>
                <a:cubicBezTo>
                  <a:pt x="311" y="483"/>
                  <a:pt x="172" y="483"/>
                  <a:pt x="86" y="397"/>
                </a:cubicBezTo>
                <a:cubicBezTo>
                  <a:pt x="0" y="311"/>
                  <a:pt x="0" y="172"/>
                  <a:pt x="86" y="86"/>
                </a:cubicBezTo>
                <a:close/>
              </a:path>
            </a:pathLst>
          </a:custGeom>
          <a:solidFill>
            <a:srgbClr val="FEFEFE"/>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42863" tIns="21431" rIns="42863" bIns="21431" numCol="1" anchor="t" anchorCtr="0" compatLnSpc="1">
            <a:prstTxWarp prst="textNoShape">
              <a:avLst/>
            </a:prstTxWarp>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685783">
              <a:defRPr/>
            </a:pPr>
            <a:endParaRPr lang="en-US" sz="1013" b="1">
              <a:solidFill>
                <a:prstClr val="black"/>
              </a:solidFill>
              <a:latin typeface="Franklin Gothic Book" panose="020B0503020102020204"/>
            </a:endParaRPr>
          </a:p>
        </p:txBody>
      </p:sp>
      <p:sp>
        <p:nvSpPr>
          <p:cNvPr id="5" name="Shape0_20210625_204930">
            <a:extLst>
              <a:ext uri="{FF2B5EF4-FFF2-40B4-BE49-F238E27FC236}">
                <a16:creationId xmlns:a16="http://schemas.microsoft.com/office/drawing/2014/main" id="{2ED15949-1FF5-448A-81E8-6CC55DF3B471}"/>
              </a:ext>
            </a:extLst>
          </p:cNvPr>
          <p:cNvSpPr/>
          <p:nvPr>
            <p:custDataLst>
              <p:tags r:id="rId23"/>
            </p:custDataLst>
          </p:nvPr>
        </p:nvSpPr>
        <p:spPr>
          <a:xfrm>
            <a:off x="3056330" y="1873434"/>
            <a:ext cx="622582" cy="1610554"/>
          </a:xfrm>
          <a:custGeom>
            <a:avLst/>
            <a:gdLst>
              <a:gd name="T0" fmla="*/ 88 w 507"/>
              <a:gd name="T1" fmla="*/ 488 h 1309"/>
              <a:gd name="T2" fmla="*/ 0 w 507"/>
              <a:gd name="T3" fmla="*/ 262 h 1309"/>
              <a:gd name="T4" fmla="*/ 0 w 507"/>
              <a:gd name="T5" fmla="*/ 254 h 1309"/>
              <a:gd name="T6" fmla="*/ 0 w 507"/>
              <a:gd name="T7" fmla="*/ 241 h 1309"/>
              <a:gd name="T8" fmla="*/ 0 w 507"/>
              <a:gd name="T9" fmla="*/ 234 h 1309"/>
              <a:gd name="T10" fmla="*/ 1 w 507"/>
              <a:gd name="T11" fmla="*/ 222 h 1309"/>
              <a:gd name="T12" fmla="*/ 2 w 507"/>
              <a:gd name="T13" fmla="*/ 216 h 1309"/>
              <a:gd name="T14" fmla="*/ 5 w 507"/>
              <a:gd name="T15" fmla="*/ 203 h 1309"/>
              <a:gd name="T16" fmla="*/ 6 w 507"/>
              <a:gd name="T17" fmla="*/ 197 h 1309"/>
              <a:gd name="T18" fmla="*/ 9 w 507"/>
              <a:gd name="T19" fmla="*/ 185 h 1309"/>
              <a:gd name="T20" fmla="*/ 13 w 507"/>
              <a:gd name="T21" fmla="*/ 173 h 1309"/>
              <a:gd name="T22" fmla="*/ 201 w 507"/>
              <a:gd name="T23" fmla="*/ 5 h 1309"/>
              <a:gd name="T24" fmla="*/ 208 w 507"/>
              <a:gd name="T25" fmla="*/ 4 h 1309"/>
              <a:gd name="T26" fmla="*/ 227 w 507"/>
              <a:gd name="T27" fmla="*/ 1 h 1309"/>
              <a:gd name="T28" fmla="*/ 233 w 507"/>
              <a:gd name="T29" fmla="*/ 0 h 1309"/>
              <a:gd name="T30" fmla="*/ 253 w 507"/>
              <a:gd name="T31" fmla="*/ 0 h 1309"/>
              <a:gd name="T32" fmla="*/ 260 w 507"/>
              <a:gd name="T33" fmla="*/ 0 h 1309"/>
              <a:gd name="T34" fmla="*/ 280 w 507"/>
              <a:gd name="T35" fmla="*/ 1 h 1309"/>
              <a:gd name="T36" fmla="*/ 293 w 507"/>
              <a:gd name="T37" fmla="*/ 3 h 1309"/>
              <a:gd name="T38" fmla="*/ 305 w 507"/>
              <a:gd name="T39" fmla="*/ 5 h 1309"/>
              <a:gd name="T40" fmla="*/ 324 w 507"/>
              <a:gd name="T41" fmla="*/ 10 h 1309"/>
              <a:gd name="T42" fmla="*/ 498 w 507"/>
              <a:gd name="T43" fmla="*/ 185 h 1309"/>
              <a:gd name="T44" fmla="*/ 499 w 507"/>
              <a:gd name="T45" fmla="*/ 191 h 1309"/>
              <a:gd name="T46" fmla="*/ 502 w 507"/>
              <a:gd name="T47" fmla="*/ 203 h 1309"/>
              <a:gd name="T48" fmla="*/ 503 w 507"/>
              <a:gd name="T49" fmla="*/ 209 h 1309"/>
              <a:gd name="T50" fmla="*/ 505 w 507"/>
              <a:gd name="T51" fmla="*/ 222 h 1309"/>
              <a:gd name="T52" fmla="*/ 506 w 507"/>
              <a:gd name="T53" fmla="*/ 228 h 1309"/>
              <a:gd name="T54" fmla="*/ 507 w 507"/>
              <a:gd name="T55" fmla="*/ 241 h 1309"/>
              <a:gd name="T56" fmla="*/ 507 w 507"/>
              <a:gd name="T57" fmla="*/ 247 h 1309"/>
              <a:gd name="T58" fmla="*/ 507 w 507"/>
              <a:gd name="T59" fmla="*/ 255 h 1309"/>
              <a:gd name="T60" fmla="*/ 507 w 507"/>
              <a:gd name="T61" fmla="*/ 261 h 1309"/>
              <a:gd name="T62" fmla="*/ 418 w 507"/>
              <a:gd name="T63" fmla="*/ 819 h 1309"/>
              <a:gd name="T64" fmla="*/ 507 w 507"/>
              <a:gd name="T65" fmla="*/ 1047 h 1309"/>
              <a:gd name="T66" fmla="*/ 507 w 507"/>
              <a:gd name="T67" fmla="*/ 1055 h 1309"/>
              <a:gd name="T68" fmla="*/ 507 w 507"/>
              <a:gd name="T69" fmla="*/ 1067 h 1309"/>
              <a:gd name="T70" fmla="*/ 507 w 507"/>
              <a:gd name="T71" fmla="*/ 1074 h 1309"/>
              <a:gd name="T72" fmla="*/ 505 w 507"/>
              <a:gd name="T73" fmla="*/ 1086 h 1309"/>
              <a:gd name="T74" fmla="*/ 504 w 507"/>
              <a:gd name="T75" fmla="*/ 1093 h 1309"/>
              <a:gd name="T76" fmla="*/ 502 w 507"/>
              <a:gd name="T77" fmla="*/ 1105 h 1309"/>
              <a:gd name="T78" fmla="*/ 501 w 507"/>
              <a:gd name="T79" fmla="*/ 1111 h 1309"/>
              <a:gd name="T80" fmla="*/ 498 w 507"/>
              <a:gd name="T81" fmla="*/ 1123 h 1309"/>
              <a:gd name="T82" fmla="*/ 494 w 507"/>
              <a:gd name="T83" fmla="*/ 1135 h 1309"/>
              <a:gd name="T84" fmla="*/ 305 w 507"/>
              <a:gd name="T85" fmla="*/ 1303 h 1309"/>
              <a:gd name="T86" fmla="*/ 299 w 507"/>
              <a:gd name="T87" fmla="*/ 1305 h 1309"/>
              <a:gd name="T88" fmla="*/ 280 w 507"/>
              <a:gd name="T89" fmla="*/ 1307 h 1309"/>
              <a:gd name="T90" fmla="*/ 273 w 507"/>
              <a:gd name="T91" fmla="*/ 1308 h 1309"/>
              <a:gd name="T92" fmla="*/ 253 w 507"/>
              <a:gd name="T93" fmla="*/ 1309 h 1309"/>
              <a:gd name="T94" fmla="*/ 247 w 507"/>
              <a:gd name="T95" fmla="*/ 1309 h 1309"/>
              <a:gd name="T96" fmla="*/ 227 w 507"/>
              <a:gd name="T97" fmla="*/ 1307 h 1309"/>
              <a:gd name="T98" fmla="*/ 214 w 507"/>
              <a:gd name="T99" fmla="*/ 1306 h 1309"/>
              <a:gd name="T100" fmla="*/ 201 w 507"/>
              <a:gd name="T101" fmla="*/ 1303 h 1309"/>
              <a:gd name="T102" fmla="*/ 183 w 507"/>
              <a:gd name="T103" fmla="*/ 1299 h 1309"/>
              <a:gd name="T104" fmla="*/ 9 w 507"/>
              <a:gd name="T105" fmla="*/ 1123 h 1309"/>
              <a:gd name="T106" fmla="*/ 7 w 507"/>
              <a:gd name="T107" fmla="*/ 1117 h 1309"/>
              <a:gd name="T108" fmla="*/ 5 w 507"/>
              <a:gd name="T109" fmla="*/ 1105 h 1309"/>
              <a:gd name="T110" fmla="*/ 3 w 507"/>
              <a:gd name="T111" fmla="*/ 1099 h 1309"/>
              <a:gd name="T112" fmla="*/ 1 w 507"/>
              <a:gd name="T113" fmla="*/ 1086 h 1309"/>
              <a:gd name="T114" fmla="*/ 1 w 507"/>
              <a:gd name="T115" fmla="*/ 1080 h 1309"/>
              <a:gd name="T116" fmla="*/ 0 w 507"/>
              <a:gd name="T117" fmla="*/ 1067 h 1309"/>
              <a:gd name="T118" fmla="*/ 0 w 507"/>
              <a:gd name="T119" fmla="*/ 1061 h 1309"/>
              <a:gd name="T120" fmla="*/ 0 w 507"/>
              <a:gd name="T121" fmla="*/ 1055 h 1309"/>
              <a:gd name="T122" fmla="*/ 0 w 507"/>
              <a:gd name="T123" fmla="*/ 1040 h 1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07" h="1309">
                <a:moveTo>
                  <a:pt x="89" y="819"/>
                </a:moveTo>
                <a:cubicBezTo>
                  <a:pt x="107" y="775"/>
                  <a:pt x="120" y="724"/>
                  <a:pt x="121" y="656"/>
                </a:cubicBezTo>
                <a:cubicBezTo>
                  <a:pt x="121" y="586"/>
                  <a:pt x="107" y="533"/>
                  <a:pt x="88" y="488"/>
                </a:cubicBezTo>
                <a:cubicBezTo>
                  <a:pt x="53" y="412"/>
                  <a:pt x="5" y="358"/>
                  <a:pt x="0" y="269"/>
                </a:cubicBezTo>
                <a:cubicBezTo>
                  <a:pt x="0" y="267"/>
                  <a:pt x="0" y="266"/>
                  <a:pt x="0" y="264"/>
                </a:cubicBezTo>
                <a:cubicBezTo>
                  <a:pt x="0" y="262"/>
                  <a:pt x="0" y="262"/>
                  <a:pt x="0" y="262"/>
                </a:cubicBezTo>
                <a:cubicBezTo>
                  <a:pt x="0" y="259"/>
                  <a:pt x="0" y="257"/>
                  <a:pt x="0" y="254"/>
                </a:cubicBezTo>
                <a:cubicBezTo>
                  <a:pt x="0" y="254"/>
                  <a:pt x="0" y="254"/>
                  <a:pt x="0" y="254"/>
                </a:cubicBezTo>
                <a:cubicBezTo>
                  <a:pt x="0" y="254"/>
                  <a:pt x="0" y="254"/>
                  <a:pt x="0" y="254"/>
                </a:cubicBezTo>
                <a:cubicBezTo>
                  <a:pt x="0" y="251"/>
                  <a:pt x="0" y="249"/>
                  <a:pt x="0" y="247"/>
                </a:cubicBezTo>
                <a:cubicBezTo>
                  <a:pt x="0" y="247"/>
                  <a:pt x="0" y="247"/>
                  <a:pt x="0" y="247"/>
                </a:cubicBezTo>
                <a:cubicBezTo>
                  <a:pt x="0" y="245"/>
                  <a:pt x="0" y="243"/>
                  <a:pt x="0" y="241"/>
                </a:cubicBezTo>
                <a:cubicBezTo>
                  <a:pt x="0" y="241"/>
                  <a:pt x="0" y="241"/>
                  <a:pt x="0" y="241"/>
                </a:cubicBezTo>
                <a:cubicBezTo>
                  <a:pt x="0" y="239"/>
                  <a:pt x="0" y="237"/>
                  <a:pt x="0" y="234"/>
                </a:cubicBezTo>
                <a:cubicBezTo>
                  <a:pt x="0" y="234"/>
                  <a:pt x="0" y="234"/>
                  <a:pt x="0" y="234"/>
                </a:cubicBezTo>
                <a:cubicBezTo>
                  <a:pt x="0" y="232"/>
                  <a:pt x="1" y="230"/>
                  <a:pt x="1" y="228"/>
                </a:cubicBezTo>
                <a:cubicBezTo>
                  <a:pt x="1" y="228"/>
                  <a:pt x="1" y="228"/>
                  <a:pt x="1" y="228"/>
                </a:cubicBezTo>
                <a:cubicBezTo>
                  <a:pt x="1" y="226"/>
                  <a:pt x="1" y="224"/>
                  <a:pt x="1" y="222"/>
                </a:cubicBezTo>
                <a:cubicBezTo>
                  <a:pt x="1" y="222"/>
                  <a:pt x="1" y="222"/>
                  <a:pt x="1" y="222"/>
                </a:cubicBezTo>
                <a:cubicBezTo>
                  <a:pt x="2" y="220"/>
                  <a:pt x="2" y="218"/>
                  <a:pt x="2" y="216"/>
                </a:cubicBezTo>
                <a:cubicBezTo>
                  <a:pt x="2" y="216"/>
                  <a:pt x="2" y="216"/>
                  <a:pt x="2" y="216"/>
                </a:cubicBezTo>
                <a:cubicBezTo>
                  <a:pt x="3" y="214"/>
                  <a:pt x="3" y="212"/>
                  <a:pt x="3" y="209"/>
                </a:cubicBezTo>
                <a:cubicBezTo>
                  <a:pt x="3" y="209"/>
                  <a:pt x="3" y="209"/>
                  <a:pt x="3" y="209"/>
                </a:cubicBezTo>
                <a:cubicBezTo>
                  <a:pt x="4" y="207"/>
                  <a:pt x="4" y="205"/>
                  <a:pt x="5" y="203"/>
                </a:cubicBezTo>
                <a:cubicBezTo>
                  <a:pt x="5" y="203"/>
                  <a:pt x="5" y="203"/>
                  <a:pt x="5" y="203"/>
                </a:cubicBezTo>
                <a:cubicBezTo>
                  <a:pt x="5" y="201"/>
                  <a:pt x="5" y="199"/>
                  <a:pt x="6" y="197"/>
                </a:cubicBezTo>
                <a:cubicBezTo>
                  <a:pt x="6" y="197"/>
                  <a:pt x="6" y="197"/>
                  <a:pt x="6" y="197"/>
                </a:cubicBezTo>
                <a:cubicBezTo>
                  <a:pt x="6" y="195"/>
                  <a:pt x="7" y="193"/>
                  <a:pt x="7" y="191"/>
                </a:cubicBezTo>
                <a:cubicBezTo>
                  <a:pt x="7" y="191"/>
                  <a:pt x="7" y="191"/>
                  <a:pt x="7" y="191"/>
                </a:cubicBezTo>
                <a:cubicBezTo>
                  <a:pt x="8" y="189"/>
                  <a:pt x="8" y="187"/>
                  <a:pt x="9" y="185"/>
                </a:cubicBezTo>
                <a:cubicBezTo>
                  <a:pt x="9" y="185"/>
                  <a:pt x="9" y="185"/>
                  <a:pt x="9" y="185"/>
                </a:cubicBezTo>
                <a:cubicBezTo>
                  <a:pt x="10" y="181"/>
                  <a:pt x="11" y="177"/>
                  <a:pt x="12" y="173"/>
                </a:cubicBezTo>
                <a:cubicBezTo>
                  <a:pt x="13" y="173"/>
                  <a:pt x="13" y="173"/>
                  <a:pt x="13" y="173"/>
                </a:cubicBezTo>
                <a:cubicBezTo>
                  <a:pt x="38" y="95"/>
                  <a:pt x="101" y="33"/>
                  <a:pt x="183" y="10"/>
                </a:cubicBezTo>
                <a:cubicBezTo>
                  <a:pt x="183" y="10"/>
                  <a:pt x="183" y="10"/>
                  <a:pt x="183" y="10"/>
                </a:cubicBezTo>
                <a:cubicBezTo>
                  <a:pt x="189" y="8"/>
                  <a:pt x="195" y="6"/>
                  <a:pt x="201" y="5"/>
                </a:cubicBezTo>
                <a:cubicBezTo>
                  <a:pt x="201" y="5"/>
                  <a:pt x="201" y="5"/>
                  <a:pt x="201" y="5"/>
                </a:cubicBezTo>
                <a:cubicBezTo>
                  <a:pt x="203" y="5"/>
                  <a:pt x="205" y="4"/>
                  <a:pt x="208" y="4"/>
                </a:cubicBezTo>
                <a:cubicBezTo>
                  <a:pt x="208" y="4"/>
                  <a:pt x="208" y="4"/>
                  <a:pt x="208" y="4"/>
                </a:cubicBezTo>
                <a:cubicBezTo>
                  <a:pt x="210" y="3"/>
                  <a:pt x="212" y="3"/>
                  <a:pt x="214" y="3"/>
                </a:cubicBezTo>
                <a:cubicBezTo>
                  <a:pt x="214" y="3"/>
                  <a:pt x="214" y="3"/>
                  <a:pt x="214" y="3"/>
                </a:cubicBezTo>
                <a:cubicBezTo>
                  <a:pt x="218" y="2"/>
                  <a:pt x="223" y="2"/>
                  <a:pt x="227" y="1"/>
                </a:cubicBezTo>
                <a:cubicBezTo>
                  <a:pt x="227" y="1"/>
                  <a:pt x="227" y="1"/>
                  <a:pt x="227" y="1"/>
                </a:cubicBezTo>
                <a:cubicBezTo>
                  <a:pt x="229" y="1"/>
                  <a:pt x="231" y="1"/>
                  <a:pt x="233" y="0"/>
                </a:cubicBezTo>
                <a:cubicBezTo>
                  <a:pt x="233" y="0"/>
                  <a:pt x="233" y="0"/>
                  <a:pt x="233" y="0"/>
                </a:cubicBezTo>
                <a:cubicBezTo>
                  <a:pt x="238" y="0"/>
                  <a:pt x="242" y="0"/>
                  <a:pt x="247" y="0"/>
                </a:cubicBezTo>
                <a:cubicBezTo>
                  <a:pt x="247" y="0"/>
                  <a:pt x="247" y="0"/>
                  <a:pt x="247" y="0"/>
                </a:cubicBezTo>
                <a:cubicBezTo>
                  <a:pt x="249" y="0"/>
                  <a:pt x="251" y="0"/>
                  <a:pt x="253" y="0"/>
                </a:cubicBezTo>
                <a:cubicBezTo>
                  <a:pt x="253" y="0"/>
                  <a:pt x="253" y="0"/>
                  <a:pt x="253" y="0"/>
                </a:cubicBezTo>
                <a:cubicBezTo>
                  <a:pt x="256" y="0"/>
                  <a:pt x="258" y="0"/>
                  <a:pt x="260" y="0"/>
                </a:cubicBezTo>
                <a:cubicBezTo>
                  <a:pt x="260" y="0"/>
                  <a:pt x="260" y="0"/>
                  <a:pt x="260" y="0"/>
                </a:cubicBezTo>
                <a:cubicBezTo>
                  <a:pt x="265" y="0"/>
                  <a:pt x="269" y="0"/>
                  <a:pt x="273" y="0"/>
                </a:cubicBezTo>
                <a:cubicBezTo>
                  <a:pt x="273" y="0"/>
                  <a:pt x="273" y="0"/>
                  <a:pt x="273" y="0"/>
                </a:cubicBezTo>
                <a:cubicBezTo>
                  <a:pt x="276" y="1"/>
                  <a:pt x="278" y="1"/>
                  <a:pt x="280" y="1"/>
                </a:cubicBezTo>
                <a:cubicBezTo>
                  <a:pt x="280" y="1"/>
                  <a:pt x="280" y="1"/>
                  <a:pt x="280" y="1"/>
                </a:cubicBezTo>
                <a:cubicBezTo>
                  <a:pt x="284" y="2"/>
                  <a:pt x="289" y="2"/>
                  <a:pt x="293" y="3"/>
                </a:cubicBezTo>
                <a:cubicBezTo>
                  <a:pt x="293" y="3"/>
                  <a:pt x="293" y="3"/>
                  <a:pt x="293" y="3"/>
                </a:cubicBezTo>
                <a:cubicBezTo>
                  <a:pt x="295" y="3"/>
                  <a:pt x="297" y="3"/>
                  <a:pt x="299" y="4"/>
                </a:cubicBezTo>
                <a:cubicBezTo>
                  <a:pt x="299" y="4"/>
                  <a:pt x="299" y="4"/>
                  <a:pt x="299" y="4"/>
                </a:cubicBezTo>
                <a:cubicBezTo>
                  <a:pt x="301" y="4"/>
                  <a:pt x="303" y="5"/>
                  <a:pt x="305" y="5"/>
                </a:cubicBezTo>
                <a:cubicBezTo>
                  <a:pt x="305" y="5"/>
                  <a:pt x="305" y="5"/>
                  <a:pt x="305" y="5"/>
                </a:cubicBezTo>
                <a:cubicBezTo>
                  <a:pt x="312" y="6"/>
                  <a:pt x="318" y="8"/>
                  <a:pt x="324" y="10"/>
                </a:cubicBezTo>
                <a:cubicBezTo>
                  <a:pt x="324" y="10"/>
                  <a:pt x="324" y="10"/>
                  <a:pt x="324" y="10"/>
                </a:cubicBezTo>
                <a:cubicBezTo>
                  <a:pt x="405" y="33"/>
                  <a:pt x="468" y="95"/>
                  <a:pt x="494" y="173"/>
                </a:cubicBezTo>
                <a:cubicBezTo>
                  <a:pt x="494" y="173"/>
                  <a:pt x="494" y="173"/>
                  <a:pt x="494" y="173"/>
                </a:cubicBezTo>
                <a:cubicBezTo>
                  <a:pt x="496" y="177"/>
                  <a:pt x="497" y="181"/>
                  <a:pt x="498" y="185"/>
                </a:cubicBezTo>
                <a:cubicBezTo>
                  <a:pt x="498" y="185"/>
                  <a:pt x="498" y="185"/>
                  <a:pt x="498" y="185"/>
                </a:cubicBezTo>
                <a:cubicBezTo>
                  <a:pt x="498" y="187"/>
                  <a:pt x="499" y="189"/>
                  <a:pt x="499" y="191"/>
                </a:cubicBezTo>
                <a:cubicBezTo>
                  <a:pt x="499" y="191"/>
                  <a:pt x="499" y="191"/>
                  <a:pt x="499" y="191"/>
                </a:cubicBezTo>
                <a:cubicBezTo>
                  <a:pt x="500" y="193"/>
                  <a:pt x="501" y="195"/>
                  <a:pt x="501" y="197"/>
                </a:cubicBezTo>
                <a:cubicBezTo>
                  <a:pt x="501" y="197"/>
                  <a:pt x="501" y="197"/>
                  <a:pt x="501" y="197"/>
                </a:cubicBezTo>
                <a:cubicBezTo>
                  <a:pt x="501" y="199"/>
                  <a:pt x="502" y="201"/>
                  <a:pt x="502" y="203"/>
                </a:cubicBezTo>
                <a:cubicBezTo>
                  <a:pt x="502" y="203"/>
                  <a:pt x="502" y="203"/>
                  <a:pt x="502" y="203"/>
                </a:cubicBezTo>
                <a:cubicBezTo>
                  <a:pt x="503" y="205"/>
                  <a:pt x="503" y="207"/>
                  <a:pt x="503" y="209"/>
                </a:cubicBezTo>
                <a:cubicBezTo>
                  <a:pt x="503" y="209"/>
                  <a:pt x="503" y="209"/>
                  <a:pt x="503" y="209"/>
                </a:cubicBezTo>
                <a:cubicBezTo>
                  <a:pt x="504" y="212"/>
                  <a:pt x="504" y="214"/>
                  <a:pt x="504" y="216"/>
                </a:cubicBezTo>
                <a:cubicBezTo>
                  <a:pt x="504" y="216"/>
                  <a:pt x="504" y="216"/>
                  <a:pt x="504" y="216"/>
                </a:cubicBezTo>
                <a:cubicBezTo>
                  <a:pt x="505" y="218"/>
                  <a:pt x="505" y="220"/>
                  <a:pt x="505" y="222"/>
                </a:cubicBezTo>
                <a:cubicBezTo>
                  <a:pt x="505" y="222"/>
                  <a:pt x="505" y="222"/>
                  <a:pt x="505" y="222"/>
                </a:cubicBezTo>
                <a:cubicBezTo>
                  <a:pt x="506" y="224"/>
                  <a:pt x="506" y="226"/>
                  <a:pt x="506" y="228"/>
                </a:cubicBezTo>
                <a:cubicBezTo>
                  <a:pt x="506" y="228"/>
                  <a:pt x="506" y="228"/>
                  <a:pt x="506" y="228"/>
                </a:cubicBezTo>
                <a:cubicBezTo>
                  <a:pt x="506" y="230"/>
                  <a:pt x="506" y="232"/>
                  <a:pt x="507" y="234"/>
                </a:cubicBezTo>
                <a:cubicBezTo>
                  <a:pt x="507" y="234"/>
                  <a:pt x="507" y="234"/>
                  <a:pt x="507" y="234"/>
                </a:cubicBezTo>
                <a:cubicBezTo>
                  <a:pt x="507" y="237"/>
                  <a:pt x="507" y="239"/>
                  <a:pt x="507" y="241"/>
                </a:cubicBezTo>
                <a:cubicBezTo>
                  <a:pt x="507" y="241"/>
                  <a:pt x="507" y="241"/>
                  <a:pt x="507" y="241"/>
                </a:cubicBezTo>
                <a:cubicBezTo>
                  <a:pt x="507" y="243"/>
                  <a:pt x="507" y="245"/>
                  <a:pt x="507" y="247"/>
                </a:cubicBezTo>
                <a:cubicBezTo>
                  <a:pt x="507" y="247"/>
                  <a:pt x="507" y="247"/>
                  <a:pt x="507" y="247"/>
                </a:cubicBezTo>
                <a:cubicBezTo>
                  <a:pt x="507" y="249"/>
                  <a:pt x="507" y="251"/>
                  <a:pt x="507" y="254"/>
                </a:cubicBezTo>
                <a:cubicBezTo>
                  <a:pt x="507" y="254"/>
                  <a:pt x="507" y="254"/>
                  <a:pt x="507" y="254"/>
                </a:cubicBezTo>
                <a:cubicBezTo>
                  <a:pt x="507" y="255"/>
                  <a:pt x="507" y="255"/>
                  <a:pt x="507" y="255"/>
                </a:cubicBezTo>
                <a:cubicBezTo>
                  <a:pt x="507" y="256"/>
                  <a:pt x="507" y="257"/>
                  <a:pt x="507" y="258"/>
                </a:cubicBezTo>
                <a:cubicBezTo>
                  <a:pt x="507" y="259"/>
                  <a:pt x="507" y="260"/>
                  <a:pt x="507" y="261"/>
                </a:cubicBezTo>
                <a:cubicBezTo>
                  <a:pt x="507" y="261"/>
                  <a:pt x="507" y="261"/>
                  <a:pt x="507" y="261"/>
                </a:cubicBezTo>
                <a:cubicBezTo>
                  <a:pt x="505" y="355"/>
                  <a:pt x="454" y="410"/>
                  <a:pt x="419" y="488"/>
                </a:cubicBezTo>
                <a:cubicBezTo>
                  <a:pt x="400" y="533"/>
                  <a:pt x="386" y="586"/>
                  <a:pt x="385" y="656"/>
                </a:cubicBezTo>
                <a:cubicBezTo>
                  <a:pt x="386" y="723"/>
                  <a:pt x="400" y="775"/>
                  <a:pt x="418" y="819"/>
                </a:cubicBezTo>
                <a:cubicBezTo>
                  <a:pt x="453" y="896"/>
                  <a:pt x="502" y="950"/>
                  <a:pt x="507" y="1040"/>
                </a:cubicBezTo>
                <a:cubicBezTo>
                  <a:pt x="507" y="1041"/>
                  <a:pt x="507" y="1043"/>
                  <a:pt x="507" y="1044"/>
                </a:cubicBezTo>
                <a:cubicBezTo>
                  <a:pt x="507" y="1047"/>
                  <a:pt x="507" y="1047"/>
                  <a:pt x="507" y="1047"/>
                </a:cubicBezTo>
                <a:cubicBezTo>
                  <a:pt x="507" y="1049"/>
                  <a:pt x="507" y="1052"/>
                  <a:pt x="507" y="1055"/>
                </a:cubicBezTo>
                <a:cubicBezTo>
                  <a:pt x="507" y="1055"/>
                  <a:pt x="507" y="1055"/>
                  <a:pt x="507" y="1055"/>
                </a:cubicBezTo>
                <a:cubicBezTo>
                  <a:pt x="507" y="1055"/>
                  <a:pt x="507" y="1055"/>
                  <a:pt x="507" y="1055"/>
                </a:cubicBezTo>
                <a:cubicBezTo>
                  <a:pt x="507" y="1057"/>
                  <a:pt x="507" y="1059"/>
                  <a:pt x="507" y="1061"/>
                </a:cubicBezTo>
                <a:cubicBezTo>
                  <a:pt x="507" y="1061"/>
                  <a:pt x="507" y="1061"/>
                  <a:pt x="507" y="1061"/>
                </a:cubicBezTo>
                <a:cubicBezTo>
                  <a:pt x="507" y="1063"/>
                  <a:pt x="507" y="1065"/>
                  <a:pt x="507" y="1067"/>
                </a:cubicBezTo>
                <a:cubicBezTo>
                  <a:pt x="507" y="1067"/>
                  <a:pt x="507" y="1067"/>
                  <a:pt x="507" y="1067"/>
                </a:cubicBezTo>
                <a:cubicBezTo>
                  <a:pt x="507" y="1070"/>
                  <a:pt x="507" y="1072"/>
                  <a:pt x="507" y="1074"/>
                </a:cubicBezTo>
                <a:cubicBezTo>
                  <a:pt x="507" y="1074"/>
                  <a:pt x="507" y="1074"/>
                  <a:pt x="507" y="1074"/>
                </a:cubicBezTo>
                <a:cubicBezTo>
                  <a:pt x="506" y="1076"/>
                  <a:pt x="506" y="1078"/>
                  <a:pt x="506" y="1080"/>
                </a:cubicBezTo>
                <a:cubicBezTo>
                  <a:pt x="506" y="1080"/>
                  <a:pt x="506" y="1080"/>
                  <a:pt x="506" y="1080"/>
                </a:cubicBezTo>
                <a:cubicBezTo>
                  <a:pt x="506" y="1082"/>
                  <a:pt x="506" y="1084"/>
                  <a:pt x="505" y="1086"/>
                </a:cubicBezTo>
                <a:cubicBezTo>
                  <a:pt x="505" y="1086"/>
                  <a:pt x="505" y="1086"/>
                  <a:pt x="505" y="1086"/>
                </a:cubicBezTo>
                <a:cubicBezTo>
                  <a:pt x="505" y="1089"/>
                  <a:pt x="505" y="1091"/>
                  <a:pt x="504" y="1093"/>
                </a:cubicBezTo>
                <a:cubicBezTo>
                  <a:pt x="504" y="1093"/>
                  <a:pt x="504" y="1093"/>
                  <a:pt x="504" y="1093"/>
                </a:cubicBezTo>
                <a:cubicBezTo>
                  <a:pt x="504" y="1095"/>
                  <a:pt x="504" y="1097"/>
                  <a:pt x="503" y="1099"/>
                </a:cubicBezTo>
                <a:cubicBezTo>
                  <a:pt x="503" y="1099"/>
                  <a:pt x="503" y="1099"/>
                  <a:pt x="503" y="1099"/>
                </a:cubicBezTo>
                <a:cubicBezTo>
                  <a:pt x="503" y="1101"/>
                  <a:pt x="503" y="1103"/>
                  <a:pt x="502" y="1105"/>
                </a:cubicBezTo>
                <a:cubicBezTo>
                  <a:pt x="502" y="1105"/>
                  <a:pt x="502" y="1105"/>
                  <a:pt x="502" y="1105"/>
                </a:cubicBezTo>
                <a:cubicBezTo>
                  <a:pt x="502" y="1107"/>
                  <a:pt x="501" y="1109"/>
                  <a:pt x="501" y="1111"/>
                </a:cubicBezTo>
                <a:cubicBezTo>
                  <a:pt x="501" y="1111"/>
                  <a:pt x="501" y="1111"/>
                  <a:pt x="501" y="1111"/>
                </a:cubicBezTo>
                <a:cubicBezTo>
                  <a:pt x="501" y="1113"/>
                  <a:pt x="500" y="1115"/>
                  <a:pt x="499" y="1117"/>
                </a:cubicBezTo>
                <a:cubicBezTo>
                  <a:pt x="499" y="1117"/>
                  <a:pt x="499" y="1117"/>
                  <a:pt x="499" y="1117"/>
                </a:cubicBezTo>
                <a:cubicBezTo>
                  <a:pt x="499" y="1119"/>
                  <a:pt x="498" y="1121"/>
                  <a:pt x="498" y="1123"/>
                </a:cubicBezTo>
                <a:cubicBezTo>
                  <a:pt x="498" y="1123"/>
                  <a:pt x="498" y="1123"/>
                  <a:pt x="498" y="1123"/>
                </a:cubicBezTo>
                <a:cubicBezTo>
                  <a:pt x="497" y="1127"/>
                  <a:pt x="496" y="1131"/>
                  <a:pt x="494" y="1135"/>
                </a:cubicBezTo>
                <a:cubicBezTo>
                  <a:pt x="494" y="1135"/>
                  <a:pt x="494" y="1135"/>
                  <a:pt x="494" y="1135"/>
                </a:cubicBezTo>
                <a:cubicBezTo>
                  <a:pt x="468" y="1213"/>
                  <a:pt x="405" y="1276"/>
                  <a:pt x="324" y="1299"/>
                </a:cubicBezTo>
                <a:cubicBezTo>
                  <a:pt x="324" y="1299"/>
                  <a:pt x="324" y="1299"/>
                  <a:pt x="324" y="1299"/>
                </a:cubicBezTo>
                <a:cubicBezTo>
                  <a:pt x="318" y="1301"/>
                  <a:pt x="312" y="1302"/>
                  <a:pt x="305" y="1303"/>
                </a:cubicBezTo>
                <a:cubicBezTo>
                  <a:pt x="305" y="1303"/>
                  <a:pt x="305" y="1303"/>
                  <a:pt x="305" y="1303"/>
                </a:cubicBezTo>
                <a:cubicBezTo>
                  <a:pt x="303" y="1304"/>
                  <a:pt x="301" y="1304"/>
                  <a:pt x="299" y="1305"/>
                </a:cubicBezTo>
                <a:cubicBezTo>
                  <a:pt x="299" y="1305"/>
                  <a:pt x="299" y="1305"/>
                  <a:pt x="299" y="1305"/>
                </a:cubicBezTo>
                <a:cubicBezTo>
                  <a:pt x="297" y="1305"/>
                  <a:pt x="295" y="1305"/>
                  <a:pt x="293" y="1306"/>
                </a:cubicBezTo>
                <a:cubicBezTo>
                  <a:pt x="293" y="1306"/>
                  <a:pt x="293" y="1306"/>
                  <a:pt x="293" y="1306"/>
                </a:cubicBezTo>
                <a:cubicBezTo>
                  <a:pt x="289" y="1306"/>
                  <a:pt x="284" y="1307"/>
                  <a:pt x="280" y="1307"/>
                </a:cubicBezTo>
                <a:cubicBezTo>
                  <a:pt x="280" y="1307"/>
                  <a:pt x="280" y="1307"/>
                  <a:pt x="280" y="1307"/>
                </a:cubicBezTo>
                <a:cubicBezTo>
                  <a:pt x="278" y="1308"/>
                  <a:pt x="276" y="1308"/>
                  <a:pt x="273" y="1308"/>
                </a:cubicBezTo>
                <a:cubicBezTo>
                  <a:pt x="273" y="1308"/>
                  <a:pt x="273" y="1308"/>
                  <a:pt x="273" y="1308"/>
                </a:cubicBezTo>
                <a:cubicBezTo>
                  <a:pt x="269" y="1308"/>
                  <a:pt x="265" y="1308"/>
                  <a:pt x="260" y="1309"/>
                </a:cubicBezTo>
                <a:cubicBezTo>
                  <a:pt x="260" y="1309"/>
                  <a:pt x="260" y="1309"/>
                  <a:pt x="260" y="1309"/>
                </a:cubicBezTo>
                <a:cubicBezTo>
                  <a:pt x="258" y="1309"/>
                  <a:pt x="256" y="1309"/>
                  <a:pt x="253" y="1309"/>
                </a:cubicBezTo>
                <a:cubicBezTo>
                  <a:pt x="253" y="1309"/>
                  <a:pt x="253" y="1309"/>
                  <a:pt x="253" y="1309"/>
                </a:cubicBezTo>
                <a:cubicBezTo>
                  <a:pt x="251" y="1309"/>
                  <a:pt x="249" y="1309"/>
                  <a:pt x="247" y="1309"/>
                </a:cubicBezTo>
                <a:cubicBezTo>
                  <a:pt x="247" y="1309"/>
                  <a:pt x="247" y="1309"/>
                  <a:pt x="247" y="1309"/>
                </a:cubicBezTo>
                <a:cubicBezTo>
                  <a:pt x="242" y="1308"/>
                  <a:pt x="238" y="1308"/>
                  <a:pt x="233" y="1308"/>
                </a:cubicBezTo>
                <a:cubicBezTo>
                  <a:pt x="233" y="1308"/>
                  <a:pt x="233" y="1308"/>
                  <a:pt x="233" y="1308"/>
                </a:cubicBezTo>
                <a:cubicBezTo>
                  <a:pt x="231" y="1308"/>
                  <a:pt x="229" y="1308"/>
                  <a:pt x="227" y="1307"/>
                </a:cubicBezTo>
                <a:cubicBezTo>
                  <a:pt x="227" y="1307"/>
                  <a:pt x="227" y="1307"/>
                  <a:pt x="227" y="1307"/>
                </a:cubicBezTo>
                <a:cubicBezTo>
                  <a:pt x="223" y="1307"/>
                  <a:pt x="218" y="1306"/>
                  <a:pt x="214" y="1306"/>
                </a:cubicBezTo>
                <a:cubicBezTo>
                  <a:pt x="214" y="1306"/>
                  <a:pt x="214" y="1306"/>
                  <a:pt x="214" y="1306"/>
                </a:cubicBezTo>
                <a:cubicBezTo>
                  <a:pt x="212" y="1305"/>
                  <a:pt x="210" y="1305"/>
                  <a:pt x="208" y="1305"/>
                </a:cubicBezTo>
                <a:cubicBezTo>
                  <a:pt x="208" y="1305"/>
                  <a:pt x="208" y="1305"/>
                  <a:pt x="208" y="1305"/>
                </a:cubicBezTo>
                <a:cubicBezTo>
                  <a:pt x="205" y="1304"/>
                  <a:pt x="203" y="1304"/>
                  <a:pt x="201" y="1303"/>
                </a:cubicBezTo>
                <a:cubicBezTo>
                  <a:pt x="201" y="1303"/>
                  <a:pt x="201" y="1303"/>
                  <a:pt x="201" y="1303"/>
                </a:cubicBezTo>
                <a:cubicBezTo>
                  <a:pt x="195" y="1302"/>
                  <a:pt x="189" y="1301"/>
                  <a:pt x="183" y="1299"/>
                </a:cubicBezTo>
                <a:cubicBezTo>
                  <a:pt x="183" y="1299"/>
                  <a:pt x="183" y="1299"/>
                  <a:pt x="183" y="1299"/>
                </a:cubicBezTo>
                <a:cubicBezTo>
                  <a:pt x="101" y="1276"/>
                  <a:pt x="38" y="1213"/>
                  <a:pt x="13" y="1135"/>
                </a:cubicBezTo>
                <a:cubicBezTo>
                  <a:pt x="12" y="1135"/>
                  <a:pt x="12" y="1135"/>
                  <a:pt x="12" y="1135"/>
                </a:cubicBezTo>
                <a:cubicBezTo>
                  <a:pt x="11" y="1131"/>
                  <a:pt x="10" y="1127"/>
                  <a:pt x="9" y="1123"/>
                </a:cubicBezTo>
                <a:cubicBezTo>
                  <a:pt x="9" y="1123"/>
                  <a:pt x="9" y="1123"/>
                  <a:pt x="9" y="1123"/>
                </a:cubicBezTo>
                <a:cubicBezTo>
                  <a:pt x="8" y="1121"/>
                  <a:pt x="8" y="1119"/>
                  <a:pt x="7" y="1117"/>
                </a:cubicBezTo>
                <a:cubicBezTo>
                  <a:pt x="7" y="1117"/>
                  <a:pt x="7" y="1117"/>
                  <a:pt x="7" y="1117"/>
                </a:cubicBezTo>
                <a:cubicBezTo>
                  <a:pt x="7" y="1115"/>
                  <a:pt x="6" y="1113"/>
                  <a:pt x="6" y="1111"/>
                </a:cubicBezTo>
                <a:cubicBezTo>
                  <a:pt x="6" y="1111"/>
                  <a:pt x="6" y="1111"/>
                  <a:pt x="6" y="1111"/>
                </a:cubicBezTo>
                <a:cubicBezTo>
                  <a:pt x="5" y="1109"/>
                  <a:pt x="5" y="1107"/>
                  <a:pt x="5" y="1105"/>
                </a:cubicBezTo>
                <a:cubicBezTo>
                  <a:pt x="5" y="1105"/>
                  <a:pt x="5" y="1105"/>
                  <a:pt x="5" y="1105"/>
                </a:cubicBezTo>
                <a:cubicBezTo>
                  <a:pt x="4" y="1103"/>
                  <a:pt x="4" y="1101"/>
                  <a:pt x="3" y="1099"/>
                </a:cubicBezTo>
                <a:cubicBezTo>
                  <a:pt x="3" y="1099"/>
                  <a:pt x="3" y="1099"/>
                  <a:pt x="3" y="1099"/>
                </a:cubicBezTo>
                <a:cubicBezTo>
                  <a:pt x="3" y="1097"/>
                  <a:pt x="3" y="1095"/>
                  <a:pt x="2" y="1093"/>
                </a:cubicBezTo>
                <a:cubicBezTo>
                  <a:pt x="2" y="1093"/>
                  <a:pt x="2" y="1093"/>
                  <a:pt x="2" y="1093"/>
                </a:cubicBezTo>
                <a:cubicBezTo>
                  <a:pt x="2" y="1091"/>
                  <a:pt x="2" y="1089"/>
                  <a:pt x="1" y="1086"/>
                </a:cubicBezTo>
                <a:cubicBezTo>
                  <a:pt x="1" y="1086"/>
                  <a:pt x="1" y="1086"/>
                  <a:pt x="1" y="1086"/>
                </a:cubicBezTo>
                <a:cubicBezTo>
                  <a:pt x="1" y="1084"/>
                  <a:pt x="1" y="1082"/>
                  <a:pt x="1" y="1080"/>
                </a:cubicBezTo>
                <a:cubicBezTo>
                  <a:pt x="1" y="1080"/>
                  <a:pt x="1" y="1080"/>
                  <a:pt x="1" y="1080"/>
                </a:cubicBezTo>
                <a:cubicBezTo>
                  <a:pt x="1" y="1078"/>
                  <a:pt x="0" y="1076"/>
                  <a:pt x="0" y="1074"/>
                </a:cubicBezTo>
                <a:cubicBezTo>
                  <a:pt x="0" y="1074"/>
                  <a:pt x="0" y="1074"/>
                  <a:pt x="0" y="1074"/>
                </a:cubicBezTo>
                <a:cubicBezTo>
                  <a:pt x="0" y="1072"/>
                  <a:pt x="0" y="1070"/>
                  <a:pt x="0" y="1067"/>
                </a:cubicBezTo>
                <a:cubicBezTo>
                  <a:pt x="0" y="1067"/>
                  <a:pt x="0" y="1067"/>
                  <a:pt x="0" y="1067"/>
                </a:cubicBezTo>
                <a:cubicBezTo>
                  <a:pt x="0" y="1065"/>
                  <a:pt x="0" y="1063"/>
                  <a:pt x="0" y="1061"/>
                </a:cubicBezTo>
                <a:cubicBezTo>
                  <a:pt x="0" y="1061"/>
                  <a:pt x="0" y="1061"/>
                  <a:pt x="0" y="1061"/>
                </a:cubicBezTo>
                <a:cubicBezTo>
                  <a:pt x="0" y="1059"/>
                  <a:pt x="0" y="1057"/>
                  <a:pt x="0" y="1055"/>
                </a:cubicBezTo>
                <a:cubicBezTo>
                  <a:pt x="0" y="1055"/>
                  <a:pt x="0" y="1055"/>
                  <a:pt x="0" y="1055"/>
                </a:cubicBezTo>
                <a:cubicBezTo>
                  <a:pt x="0" y="1055"/>
                  <a:pt x="0" y="1055"/>
                  <a:pt x="0" y="1055"/>
                </a:cubicBezTo>
                <a:cubicBezTo>
                  <a:pt x="0" y="1052"/>
                  <a:pt x="0" y="1049"/>
                  <a:pt x="0" y="1047"/>
                </a:cubicBezTo>
                <a:cubicBezTo>
                  <a:pt x="0" y="1046"/>
                  <a:pt x="0" y="1045"/>
                  <a:pt x="0" y="1044"/>
                </a:cubicBezTo>
                <a:cubicBezTo>
                  <a:pt x="0" y="1043"/>
                  <a:pt x="0" y="1041"/>
                  <a:pt x="0" y="1040"/>
                </a:cubicBezTo>
                <a:cubicBezTo>
                  <a:pt x="5" y="950"/>
                  <a:pt x="54" y="896"/>
                  <a:pt x="89" y="819"/>
                </a:cubicBezTo>
                <a:close/>
              </a:path>
            </a:pathLst>
          </a:custGeom>
          <a:solidFill>
            <a:schemeClr val="accent1">
              <a:lumMod val="100000"/>
            </a:schemeClr>
          </a:solidFill>
          <a:ln>
            <a:noFill/>
          </a:ln>
          <a:effectLst/>
        </p:spPr>
        <p:txBody>
          <a:bodyPr vert="horz" wrap="square" lIns="42863" tIns="21431" rIns="42863" bIns="21431" numCol="1" anchor="t" anchorCtr="0" compatLnSpc="1">
            <a:prstTxWarp prst="textNoShape">
              <a:avLst/>
            </a:prstTxWarp>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685783">
              <a:defRPr/>
            </a:pPr>
            <a:endParaRPr lang="en-US" sz="1013" b="1">
              <a:solidFill>
                <a:prstClr val="black"/>
              </a:solidFill>
              <a:latin typeface="Franklin Gothic Book" panose="020B0503020102020204"/>
            </a:endParaRPr>
          </a:p>
        </p:txBody>
      </p:sp>
      <p:sp>
        <p:nvSpPr>
          <p:cNvPr id="6" name="Oval 8">
            <a:extLst>
              <a:ext uri="{FF2B5EF4-FFF2-40B4-BE49-F238E27FC236}">
                <a16:creationId xmlns:a16="http://schemas.microsoft.com/office/drawing/2014/main" id="{61F19495-61A8-4C40-A738-807D5998353E}"/>
              </a:ext>
            </a:extLst>
          </p:cNvPr>
          <p:cNvSpPr>
            <a:spLocks noChangeArrowheads="1"/>
          </p:cNvSpPr>
          <p:nvPr>
            <p:custDataLst>
              <p:tags r:id="rId24"/>
            </p:custDataLst>
          </p:nvPr>
        </p:nvSpPr>
        <p:spPr>
          <a:xfrm>
            <a:off x="3097089" y="1915594"/>
            <a:ext cx="541067" cy="542477"/>
          </a:xfrm>
          <a:prstGeom prst="ellipse">
            <a:avLst/>
          </a:prstGeom>
          <a:solidFill>
            <a:srgbClr val="FEFEFE"/>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42863" tIns="21431" rIns="42863" bIns="21431" numCol="1" anchor="t" anchorCtr="0" compatLnSpc="1">
            <a:prstTxWarp prst="textNoShape">
              <a:avLst/>
            </a:prstTxWarp>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685783">
              <a:defRPr/>
            </a:pPr>
            <a:endParaRPr lang="en-US" sz="1013" b="1">
              <a:solidFill>
                <a:prstClr val="black"/>
              </a:solidFill>
              <a:latin typeface="Franklin Gothic Book" panose="020B0503020102020204"/>
            </a:endParaRPr>
          </a:p>
        </p:txBody>
      </p:sp>
      <p:sp>
        <p:nvSpPr>
          <p:cNvPr id="7" name="Shape4_20210625_204930">
            <a:extLst>
              <a:ext uri="{FF2B5EF4-FFF2-40B4-BE49-F238E27FC236}">
                <a16:creationId xmlns:a16="http://schemas.microsoft.com/office/drawing/2014/main" id="{FA2B5159-8E0F-4A84-8601-0E24EDA7374E}"/>
              </a:ext>
            </a:extLst>
          </p:cNvPr>
          <p:cNvSpPr/>
          <p:nvPr>
            <p:custDataLst>
              <p:tags r:id="rId25"/>
            </p:custDataLst>
          </p:nvPr>
        </p:nvSpPr>
        <p:spPr>
          <a:xfrm>
            <a:off x="3751988" y="3554255"/>
            <a:ext cx="1607746" cy="625391"/>
          </a:xfrm>
          <a:custGeom>
            <a:avLst/>
            <a:gdLst>
              <a:gd name="T0" fmla="*/ 820 w 1308"/>
              <a:gd name="T1" fmla="*/ 89 h 508"/>
              <a:gd name="T2" fmla="*/ 1046 w 1308"/>
              <a:gd name="T3" fmla="*/ 1 h 508"/>
              <a:gd name="T4" fmla="*/ 1055 w 1308"/>
              <a:gd name="T5" fmla="*/ 0 h 508"/>
              <a:gd name="T6" fmla="*/ 1067 w 1308"/>
              <a:gd name="T7" fmla="*/ 1 h 508"/>
              <a:gd name="T8" fmla="*/ 1074 w 1308"/>
              <a:gd name="T9" fmla="*/ 1 h 508"/>
              <a:gd name="T10" fmla="*/ 1086 w 1308"/>
              <a:gd name="T11" fmla="*/ 2 h 508"/>
              <a:gd name="T12" fmla="*/ 1093 w 1308"/>
              <a:gd name="T13" fmla="*/ 3 h 508"/>
              <a:gd name="T14" fmla="*/ 1105 w 1308"/>
              <a:gd name="T15" fmla="*/ 5 h 508"/>
              <a:gd name="T16" fmla="*/ 1111 w 1308"/>
              <a:gd name="T17" fmla="*/ 7 h 508"/>
              <a:gd name="T18" fmla="*/ 1123 w 1308"/>
              <a:gd name="T19" fmla="*/ 10 h 508"/>
              <a:gd name="T20" fmla="*/ 1135 w 1308"/>
              <a:gd name="T21" fmla="*/ 13 h 508"/>
              <a:gd name="T22" fmla="*/ 1303 w 1308"/>
              <a:gd name="T23" fmla="*/ 202 h 508"/>
              <a:gd name="T24" fmla="*/ 1304 w 1308"/>
              <a:gd name="T25" fmla="*/ 208 h 508"/>
              <a:gd name="T26" fmla="*/ 1307 w 1308"/>
              <a:gd name="T27" fmla="*/ 228 h 508"/>
              <a:gd name="T28" fmla="*/ 1308 w 1308"/>
              <a:gd name="T29" fmla="*/ 234 h 508"/>
              <a:gd name="T30" fmla="*/ 1308 w 1308"/>
              <a:gd name="T31" fmla="*/ 254 h 508"/>
              <a:gd name="T32" fmla="*/ 1308 w 1308"/>
              <a:gd name="T33" fmla="*/ 261 h 508"/>
              <a:gd name="T34" fmla="*/ 1307 w 1308"/>
              <a:gd name="T35" fmla="*/ 281 h 508"/>
              <a:gd name="T36" fmla="*/ 1305 w 1308"/>
              <a:gd name="T37" fmla="*/ 294 h 508"/>
              <a:gd name="T38" fmla="*/ 1303 w 1308"/>
              <a:gd name="T39" fmla="*/ 306 h 508"/>
              <a:gd name="T40" fmla="*/ 1299 w 1308"/>
              <a:gd name="T41" fmla="*/ 325 h 508"/>
              <a:gd name="T42" fmla="*/ 1123 w 1308"/>
              <a:gd name="T43" fmla="*/ 499 h 508"/>
              <a:gd name="T44" fmla="*/ 1117 w 1308"/>
              <a:gd name="T45" fmla="*/ 500 h 508"/>
              <a:gd name="T46" fmla="*/ 1105 w 1308"/>
              <a:gd name="T47" fmla="*/ 503 h 508"/>
              <a:gd name="T48" fmla="*/ 1099 w 1308"/>
              <a:gd name="T49" fmla="*/ 504 h 508"/>
              <a:gd name="T50" fmla="*/ 1086 w 1308"/>
              <a:gd name="T51" fmla="*/ 506 h 508"/>
              <a:gd name="T52" fmla="*/ 1080 w 1308"/>
              <a:gd name="T53" fmla="*/ 507 h 508"/>
              <a:gd name="T54" fmla="*/ 1067 w 1308"/>
              <a:gd name="T55" fmla="*/ 508 h 508"/>
              <a:gd name="T56" fmla="*/ 1061 w 1308"/>
              <a:gd name="T57" fmla="*/ 508 h 508"/>
              <a:gd name="T58" fmla="*/ 1053 w 1308"/>
              <a:gd name="T59" fmla="*/ 508 h 508"/>
              <a:gd name="T60" fmla="*/ 1047 w 1308"/>
              <a:gd name="T61" fmla="*/ 508 h 508"/>
              <a:gd name="T62" fmla="*/ 489 w 1308"/>
              <a:gd name="T63" fmla="*/ 419 h 508"/>
              <a:gd name="T64" fmla="*/ 262 w 1308"/>
              <a:gd name="T65" fmla="*/ 508 h 508"/>
              <a:gd name="T66" fmla="*/ 254 w 1308"/>
              <a:gd name="T67" fmla="*/ 508 h 508"/>
              <a:gd name="T68" fmla="*/ 241 w 1308"/>
              <a:gd name="T69" fmla="*/ 508 h 508"/>
              <a:gd name="T70" fmla="*/ 234 w 1308"/>
              <a:gd name="T71" fmla="*/ 507 h 508"/>
              <a:gd name="T72" fmla="*/ 222 w 1308"/>
              <a:gd name="T73" fmla="*/ 506 h 508"/>
              <a:gd name="T74" fmla="*/ 215 w 1308"/>
              <a:gd name="T75" fmla="*/ 505 h 508"/>
              <a:gd name="T76" fmla="*/ 203 w 1308"/>
              <a:gd name="T77" fmla="*/ 503 h 508"/>
              <a:gd name="T78" fmla="*/ 197 w 1308"/>
              <a:gd name="T79" fmla="*/ 502 h 508"/>
              <a:gd name="T80" fmla="*/ 185 w 1308"/>
              <a:gd name="T81" fmla="*/ 499 h 508"/>
              <a:gd name="T82" fmla="*/ 173 w 1308"/>
              <a:gd name="T83" fmla="*/ 495 h 508"/>
              <a:gd name="T84" fmla="*/ 5 w 1308"/>
              <a:gd name="T85" fmla="*/ 306 h 508"/>
              <a:gd name="T86" fmla="*/ 4 w 1308"/>
              <a:gd name="T87" fmla="*/ 300 h 508"/>
              <a:gd name="T88" fmla="*/ 1 w 1308"/>
              <a:gd name="T89" fmla="*/ 281 h 508"/>
              <a:gd name="T90" fmla="*/ 0 w 1308"/>
              <a:gd name="T91" fmla="*/ 274 h 508"/>
              <a:gd name="T92" fmla="*/ 0 w 1308"/>
              <a:gd name="T93" fmla="*/ 254 h 508"/>
              <a:gd name="T94" fmla="*/ 0 w 1308"/>
              <a:gd name="T95" fmla="*/ 248 h 508"/>
              <a:gd name="T96" fmla="*/ 1 w 1308"/>
              <a:gd name="T97" fmla="*/ 228 h 508"/>
              <a:gd name="T98" fmla="*/ 3 w 1308"/>
              <a:gd name="T99" fmla="*/ 215 h 508"/>
              <a:gd name="T100" fmla="*/ 5 w 1308"/>
              <a:gd name="T101" fmla="*/ 202 h 508"/>
              <a:gd name="T102" fmla="*/ 9 w 1308"/>
              <a:gd name="T103" fmla="*/ 184 h 508"/>
              <a:gd name="T104" fmla="*/ 185 w 1308"/>
              <a:gd name="T105" fmla="*/ 10 h 508"/>
              <a:gd name="T106" fmla="*/ 191 w 1308"/>
              <a:gd name="T107" fmla="*/ 8 h 508"/>
              <a:gd name="T108" fmla="*/ 203 w 1308"/>
              <a:gd name="T109" fmla="*/ 5 h 508"/>
              <a:gd name="T110" fmla="*/ 209 w 1308"/>
              <a:gd name="T111" fmla="*/ 4 h 508"/>
              <a:gd name="T112" fmla="*/ 222 w 1308"/>
              <a:gd name="T113" fmla="*/ 2 h 508"/>
              <a:gd name="T114" fmla="*/ 228 w 1308"/>
              <a:gd name="T115" fmla="*/ 2 h 508"/>
              <a:gd name="T116" fmla="*/ 241 w 1308"/>
              <a:gd name="T117" fmla="*/ 1 h 508"/>
              <a:gd name="T118" fmla="*/ 247 w 1308"/>
              <a:gd name="T119" fmla="*/ 1 h 508"/>
              <a:gd name="T120" fmla="*/ 254 w 1308"/>
              <a:gd name="T121" fmla="*/ 0 h 508"/>
              <a:gd name="T122" fmla="*/ 268 w 1308"/>
              <a:gd name="T123" fmla="*/ 1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08" h="508">
                <a:moveTo>
                  <a:pt x="489" y="89"/>
                </a:moveTo>
                <a:cubicBezTo>
                  <a:pt x="533" y="107"/>
                  <a:pt x="584" y="121"/>
                  <a:pt x="652" y="122"/>
                </a:cubicBezTo>
                <a:cubicBezTo>
                  <a:pt x="722" y="122"/>
                  <a:pt x="775" y="108"/>
                  <a:pt x="820" y="89"/>
                </a:cubicBezTo>
                <a:cubicBezTo>
                  <a:pt x="896" y="54"/>
                  <a:pt x="950" y="6"/>
                  <a:pt x="1039" y="1"/>
                </a:cubicBezTo>
                <a:cubicBezTo>
                  <a:pt x="1041" y="1"/>
                  <a:pt x="1043" y="1"/>
                  <a:pt x="1044" y="1"/>
                </a:cubicBezTo>
                <a:cubicBezTo>
                  <a:pt x="1046" y="1"/>
                  <a:pt x="1046" y="1"/>
                  <a:pt x="1046" y="1"/>
                </a:cubicBezTo>
                <a:cubicBezTo>
                  <a:pt x="1049" y="1"/>
                  <a:pt x="1052" y="0"/>
                  <a:pt x="1054" y="0"/>
                </a:cubicBezTo>
                <a:cubicBezTo>
                  <a:pt x="1055" y="0"/>
                  <a:pt x="1055" y="0"/>
                  <a:pt x="1055" y="0"/>
                </a:cubicBezTo>
                <a:cubicBezTo>
                  <a:pt x="1055" y="0"/>
                  <a:pt x="1055" y="0"/>
                  <a:pt x="1055" y="0"/>
                </a:cubicBezTo>
                <a:cubicBezTo>
                  <a:pt x="1057" y="0"/>
                  <a:pt x="1059" y="0"/>
                  <a:pt x="1061" y="1"/>
                </a:cubicBezTo>
                <a:cubicBezTo>
                  <a:pt x="1061" y="1"/>
                  <a:pt x="1061" y="1"/>
                  <a:pt x="1061" y="1"/>
                </a:cubicBezTo>
                <a:cubicBezTo>
                  <a:pt x="1063" y="1"/>
                  <a:pt x="1065" y="1"/>
                  <a:pt x="1067" y="1"/>
                </a:cubicBezTo>
                <a:cubicBezTo>
                  <a:pt x="1067" y="1"/>
                  <a:pt x="1067" y="1"/>
                  <a:pt x="1067" y="1"/>
                </a:cubicBezTo>
                <a:cubicBezTo>
                  <a:pt x="1069" y="1"/>
                  <a:pt x="1072" y="1"/>
                  <a:pt x="1074" y="1"/>
                </a:cubicBezTo>
                <a:cubicBezTo>
                  <a:pt x="1074" y="1"/>
                  <a:pt x="1074" y="1"/>
                  <a:pt x="1074" y="1"/>
                </a:cubicBezTo>
                <a:cubicBezTo>
                  <a:pt x="1076" y="1"/>
                  <a:pt x="1078" y="1"/>
                  <a:pt x="1080" y="2"/>
                </a:cubicBezTo>
                <a:cubicBezTo>
                  <a:pt x="1080" y="2"/>
                  <a:pt x="1080" y="2"/>
                  <a:pt x="1080" y="2"/>
                </a:cubicBezTo>
                <a:cubicBezTo>
                  <a:pt x="1082" y="2"/>
                  <a:pt x="1084" y="2"/>
                  <a:pt x="1086" y="2"/>
                </a:cubicBezTo>
                <a:cubicBezTo>
                  <a:pt x="1086" y="2"/>
                  <a:pt x="1086" y="2"/>
                  <a:pt x="1086" y="2"/>
                </a:cubicBezTo>
                <a:cubicBezTo>
                  <a:pt x="1088" y="3"/>
                  <a:pt x="1091" y="3"/>
                  <a:pt x="1093" y="3"/>
                </a:cubicBezTo>
                <a:cubicBezTo>
                  <a:pt x="1093" y="3"/>
                  <a:pt x="1093" y="3"/>
                  <a:pt x="1093" y="3"/>
                </a:cubicBezTo>
                <a:cubicBezTo>
                  <a:pt x="1095" y="4"/>
                  <a:pt x="1097" y="4"/>
                  <a:pt x="1099" y="4"/>
                </a:cubicBezTo>
                <a:cubicBezTo>
                  <a:pt x="1099" y="4"/>
                  <a:pt x="1099" y="4"/>
                  <a:pt x="1099" y="4"/>
                </a:cubicBezTo>
                <a:cubicBezTo>
                  <a:pt x="1101" y="5"/>
                  <a:pt x="1103" y="5"/>
                  <a:pt x="1105" y="5"/>
                </a:cubicBezTo>
                <a:cubicBezTo>
                  <a:pt x="1105" y="5"/>
                  <a:pt x="1105" y="5"/>
                  <a:pt x="1105" y="5"/>
                </a:cubicBezTo>
                <a:cubicBezTo>
                  <a:pt x="1107" y="6"/>
                  <a:pt x="1109" y="6"/>
                  <a:pt x="1111" y="7"/>
                </a:cubicBezTo>
                <a:cubicBezTo>
                  <a:pt x="1111" y="7"/>
                  <a:pt x="1111" y="7"/>
                  <a:pt x="1111" y="7"/>
                </a:cubicBezTo>
                <a:cubicBezTo>
                  <a:pt x="1113" y="7"/>
                  <a:pt x="1115" y="8"/>
                  <a:pt x="1117" y="8"/>
                </a:cubicBezTo>
                <a:cubicBezTo>
                  <a:pt x="1117" y="8"/>
                  <a:pt x="1117" y="8"/>
                  <a:pt x="1117" y="8"/>
                </a:cubicBezTo>
                <a:cubicBezTo>
                  <a:pt x="1119" y="9"/>
                  <a:pt x="1121" y="9"/>
                  <a:pt x="1123" y="10"/>
                </a:cubicBezTo>
                <a:cubicBezTo>
                  <a:pt x="1123" y="10"/>
                  <a:pt x="1123" y="10"/>
                  <a:pt x="1123" y="10"/>
                </a:cubicBezTo>
                <a:cubicBezTo>
                  <a:pt x="1127" y="11"/>
                  <a:pt x="1131" y="12"/>
                  <a:pt x="1135" y="13"/>
                </a:cubicBezTo>
                <a:cubicBezTo>
                  <a:pt x="1135" y="13"/>
                  <a:pt x="1135" y="13"/>
                  <a:pt x="1135" y="13"/>
                </a:cubicBezTo>
                <a:cubicBezTo>
                  <a:pt x="1213" y="39"/>
                  <a:pt x="1275" y="102"/>
                  <a:pt x="1299" y="184"/>
                </a:cubicBezTo>
                <a:cubicBezTo>
                  <a:pt x="1299" y="184"/>
                  <a:pt x="1299" y="184"/>
                  <a:pt x="1299" y="184"/>
                </a:cubicBezTo>
                <a:cubicBezTo>
                  <a:pt x="1300" y="190"/>
                  <a:pt x="1302" y="196"/>
                  <a:pt x="1303" y="202"/>
                </a:cubicBezTo>
                <a:cubicBezTo>
                  <a:pt x="1303" y="202"/>
                  <a:pt x="1303" y="202"/>
                  <a:pt x="1303" y="202"/>
                </a:cubicBezTo>
                <a:cubicBezTo>
                  <a:pt x="1304" y="204"/>
                  <a:pt x="1304" y="206"/>
                  <a:pt x="1304" y="208"/>
                </a:cubicBezTo>
                <a:cubicBezTo>
                  <a:pt x="1304" y="208"/>
                  <a:pt x="1304" y="208"/>
                  <a:pt x="1304" y="208"/>
                </a:cubicBezTo>
                <a:cubicBezTo>
                  <a:pt x="1305" y="210"/>
                  <a:pt x="1305" y="213"/>
                  <a:pt x="1305" y="215"/>
                </a:cubicBezTo>
                <a:cubicBezTo>
                  <a:pt x="1305" y="215"/>
                  <a:pt x="1305" y="215"/>
                  <a:pt x="1305" y="215"/>
                </a:cubicBezTo>
                <a:cubicBezTo>
                  <a:pt x="1306" y="219"/>
                  <a:pt x="1307" y="223"/>
                  <a:pt x="1307" y="228"/>
                </a:cubicBezTo>
                <a:cubicBezTo>
                  <a:pt x="1307" y="228"/>
                  <a:pt x="1307" y="228"/>
                  <a:pt x="1307" y="228"/>
                </a:cubicBezTo>
                <a:cubicBezTo>
                  <a:pt x="1307" y="230"/>
                  <a:pt x="1307" y="232"/>
                  <a:pt x="1308" y="234"/>
                </a:cubicBezTo>
                <a:cubicBezTo>
                  <a:pt x="1308" y="234"/>
                  <a:pt x="1308" y="234"/>
                  <a:pt x="1308" y="234"/>
                </a:cubicBezTo>
                <a:cubicBezTo>
                  <a:pt x="1308" y="239"/>
                  <a:pt x="1308" y="243"/>
                  <a:pt x="1308" y="248"/>
                </a:cubicBezTo>
                <a:cubicBezTo>
                  <a:pt x="1308" y="248"/>
                  <a:pt x="1308" y="248"/>
                  <a:pt x="1308" y="248"/>
                </a:cubicBezTo>
                <a:cubicBezTo>
                  <a:pt x="1308" y="250"/>
                  <a:pt x="1308" y="252"/>
                  <a:pt x="1308" y="254"/>
                </a:cubicBezTo>
                <a:cubicBezTo>
                  <a:pt x="1308" y="254"/>
                  <a:pt x="1308" y="254"/>
                  <a:pt x="1308" y="254"/>
                </a:cubicBezTo>
                <a:cubicBezTo>
                  <a:pt x="1308" y="257"/>
                  <a:pt x="1308" y="259"/>
                  <a:pt x="1308" y="261"/>
                </a:cubicBezTo>
                <a:cubicBezTo>
                  <a:pt x="1308" y="261"/>
                  <a:pt x="1308" y="261"/>
                  <a:pt x="1308" y="261"/>
                </a:cubicBezTo>
                <a:cubicBezTo>
                  <a:pt x="1308" y="265"/>
                  <a:pt x="1308" y="270"/>
                  <a:pt x="1308" y="274"/>
                </a:cubicBezTo>
                <a:cubicBezTo>
                  <a:pt x="1308" y="274"/>
                  <a:pt x="1308" y="274"/>
                  <a:pt x="1308" y="274"/>
                </a:cubicBezTo>
                <a:cubicBezTo>
                  <a:pt x="1307" y="276"/>
                  <a:pt x="1307" y="279"/>
                  <a:pt x="1307" y="281"/>
                </a:cubicBezTo>
                <a:cubicBezTo>
                  <a:pt x="1307" y="281"/>
                  <a:pt x="1307" y="281"/>
                  <a:pt x="1307" y="281"/>
                </a:cubicBezTo>
                <a:cubicBezTo>
                  <a:pt x="1307" y="285"/>
                  <a:pt x="1306" y="289"/>
                  <a:pt x="1305" y="294"/>
                </a:cubicBezTo>
                <a:cubicBezTo>
                  <a:pt x="1305" y="294"/>
                  <a:pt x="1305" y="294"/>
                  <a:pt x="1305" y="294"/>
                </a:cubicBezTo>
                <a:cubicBezTo>
                  <a:pt x="1305" y="296"/>
                  <a:pt x="1305" y="298"/>
                  <a:pt x="1304" y="300"/>
                </a:cubicBezTo>
                <a:cubicBezTo>
                  <a:pt x="1304" y="300"/>
                  <a:pt x="1304" y="300"/>
                  <a:pt x="1304" y="300"/>
                </a:cubicBezTo>
                <a:cubicBezTo>
                  <a:pt x="1304" y="302"/>
                  <a:pt x="1304" y="304"/>
                  <a:pt x="1303" y="306"/>
                </a:cubicBezTo>
                <a:cubicBezTo>
                  <a:pt x="1303" y="306"/>
                  <a:pt x="1303" y="306"/>
                  <a:pt x="1303" y="306"/>
                </a:cubicBezTo>
                <a:cubicBezTo>
                  <a:pt x="1302" y="313"/>
                  <a:pt x="1300" y="319"/>
                  <a:pt x="1299" y="325"/>
                </a:cubicBezTo>
                <a:cubicBezTo>
                  <a:pt x="1299" y="325"/>
                  <a:pt x="1299" y="325"/>
                  <a:pt x="1299" y="325"/>
                </a:cubicBezTo>
                <a:cubicBezTo>
                  <a:pt x="1275" y="406"/>
                  <a:pt x="1213" y="469"/>
                  <a:pt x="1135" y="495"/>
                </a:cubicBezTo>
                <a:cubicBezTo>
                  <a:pt x="1135" y="495"/>
                  <a:pt x="1135" y="495"/>
                  <a:pt x="1135" y="495"/>
                </a:cubicBezTo>
                <a:cubicBezTo>
                  <a:pt x="1131" y="496"/>
                  <a:pt x="1127" y="498"/>
                  <a:pt x="1123" y="499"/>
                </a:cubicBezTo>
                <a:cubicBezTo>
                  <a:pt x="1123" y="499"/>
                  <a:pt x="1123" y="499"/>
                  <a:pt x="1123" y="499"/>
                </a:cubicBezTo>
                <a:cubicBezTo>
                  <a:pt x="1121" y="499"/>
                  <a:pt x="1119" y="500"/>
                  <a:pt x="1117" y="500"/>
                </a:cubicBezTo>
                <a:cubicBezTo>
                  <a:pt x="1117" y="500"/>
                  <a:pt x="1117" y="500"/>
                  <a:pt x="1117" y="500"/>
                </a:cubicBezTo>
                <a:cubicBezTo>
                  <a:pt x="1115" y="501"/>
                  <a:pt x="1113" y="501"/>
                  <a:pt x="1111" y="502"/>
                </a:cubicBezTo>
                <a:cubicBezTo>
                  <a:pt x="1111" y="502"/>
                  <a:pt x="1111" y="502"/>
                  <a:pt x="1111" y="502"/>
                </a:cubicBezTo>
                <a:cubicBezTo>
                  <a:pt x="1109" y="502"/>
                  <a:pt x="1107" y="503"/>
                  <a:pt x="1105" y="503"/>
                </a:cubicBezTo>
                <a:cubicBezTo>
                  <a:pt x="1105" y="503"/>
                  <a:pt x="1105" y="503"/>
                  <a:pt x="1105" y="503"/>
                </a:cubicBezTo>
                <a:cubicBezTo>
                  <a:pt x="1103" y="504"/>
                  <a:pt x="1101" y="504"/>
                  <a:pt x="1099" y="504"/>
                </a:cubicBezTo>
                <a:cubicBezTo>
                  <a:pt x="1099" y="504"/>
                  <a:pt x="1099" y="504"/>
                  <a:pt x="1099" y="504"/>
                </a:cubicBezTo>
                <a:cubicBezTo>
                  <a:pt x="1097" y="505"/>
                  <a:pt x="1095" y="505"/>
                  <a:pt x="1093" y="505"/>
                </a:cubicBezTo>
                <a:cubicBezTo>
                  <a:pt x="1093" y="505"/>
                  <a:pt x="1093" y="505"/>
                  <a:pt x="1093" y="505"/>
                </a:cubicBezTo>
                <a:cubicBezTo>
                  <a:pt x="1091" y="506"/>
                  <a:pt x="1088" y="506"/>
                  <a:pt x="1086" y="506"/>
                </a:cubicBezTo>
                <a:cubicBezTo>
                  <a:pt x="1086" y="506"/>
                  <a:pt x="1086" y="506"/>
                  <a:pt x="1086" y="506"/>
                </a:cubicBezTo>
                <a:cubicBezTo>
                  <a:pt x="1084" y="506"/>
                  <a:pt x="1082" y="507"/>
                  <a:pt x="1080" y="507"/>
                </a:cubicBezTo>
                <a:cubicBezTo>
                  <a:pt x="1080" y="507"/>
                  <a:pt x="1080" y="507"/>
                  <a:pt x="1080" y="507"/>
                </a:cubicBezTo>
                <a:cubicBezTo>
                  <a:pt x="1078" y="507"/>
                  <a:pt x="1076" y="507"/>
                  <a:pt x="1074" y="507"/>
                </a:cubicBezTo>
                <a:cubicBezTo>
                  <a:pt x="1074" y="507"/>
                  <a:pt x="1074" y="507"/>
                  <a:pt x="1074" y="507"/>
                </a:cubicBezTo>
                <a:cubicBezTo>
                  <a:pt x="1072" y="508"/>
                  <a:pt x="1069" y="508"/>
                  <a:pt x="1067" y="508"/>
                </a:cubicBezTo>
                <a:cubicBezTo>
                  <a:pt x="1067" y="508"/>
                  <a:pt x="1067" y="508"/>
                  <a:pt x="1067" y="508"/>
                </a:cubicBezTo>
                <a:cubicBezTo>
                  <a:pt x="1065" y="508"/>
                  <a:pt x="1063" y="508"/>
                  <a:pt x="1061" y="508"/>
                </a:cubicBezTo>
                <a:cubicBezTo>
                  <a:pt x="1061" y="508"/>
                  <a:pt x="1061" y="508"/>
                  <a:pt x="1061" y="508"/>
                </a:cubicBezTo>
                <a:cubicBezTo>
                  <a:pt x="1059" y="508"/>
                  <a:pt x="1057" y="508"/>
                  <a:pt x="1055" y="508"/>
                </a:cubicBezTo>
                <a:cubicBezTo>
                  <a:pt x="1055" y="508"/>
                  <a:pt x="1055" y="508"/>
                  <a:pt x="1055" y="508"/>
                </a:cubicBezTo>
                <a:cubicBezTo>
                  <a:pt x="1053" y="508"/>
                  <a:pt x="1053" y="508"/>
                  <a:pt x="1053" y="508"/>
                </a:cubicBezTo>
                <a:cubicBezTo>
                  <a:pt x="1052" y="508"/>
                  <a:pt x="1051" y="508"/>
                  <a:pt x="1051" y="508"/>
                </a:cubicBezTo>
                <a:cubicBezTo>
                  <a:pt x="1050" y="508"/>
                  <a:pt x="1048" y="508"/>
                  <a:pt x="1047" y="508"/>
                </a:cubicBezTo>
                <a:cubicBezTo>
                  <a:pt x="1047" y="508"/>
                  <a:pt x="1047" y="508"/>
                  <a:pt x="1047" y="508"/>
                </a:cubicBezTo>
                <a:cubicBezTo>
                  <a:pt x="953" y="505"/>
                  <a:pt x="898" y="455"/>
                  <a:pt x="820" y="420"/>
                </a:cubicBezTo>
                <a:cubicBezTo>
                  <a:pt x="775" y="401"/>
                  <a:pt x="723" y="387"/>
                  <a:pt x="653" y="386"/>
                </a:cubicBezTo>
                <a:cubicBezTo>
                  <a:pt x="585" y="387"/>
                  <a:pt x="533" y="401"/>
                  <a:pt x="489" y="419"/>
                </a:cubicBezTo>
                <a:cubicBezTo>
                  <a:pt x="412" y="454"/>
                  <a:pt x="359" y="503"/>
                  <a:pt x="268" y="508"/>
                </a:cubicBezTo>
                <a:cubicBezTo>
                  <a:pt x="267" y="508"/>
                  <a:pt x="265" y="508"/>
                  <a:pt x="264" y="508"/>
                </a:cubicBezTo>
                <a:cubicBezTo>
                  <a:pt x="262" y="508"/>
                  <a:pt x="262" y="508"/>
                  <a:pt x="262" y="508"/>
                </a:cubicBezTo>
                <a:cubicBezTo>
                  <a:pt x="259" y="508"/>
                  <a:pt x="256" y="508"/>
                  <a:pt x="254" y="508"/>
                </a:cubicBezTo>
                <a:cubicBezTo>
                  <a:pt x="254" y="508"/>
                  <a:pt x="254" y="508"/>
                  <a:pt x="254" y="508"/>
                </a:cubicBezTo>
                <a:cubicBezTo>
                  <a:pt x="254" y="508"/>
                  <a:pt x="254" y="508"/>
                  <a:pt x="254" y="508"/>
                </a:cubicBezTo>
                <a:cubicBezTo>
                  <a:pt x="251" y="508"/>
                  <a:pt x="249" y="508"/>
                  <a:pt x="247" y="508"/>
                </a:cubicBezTo>
                <a:cubicBezTo>
                  <a:pt x="247" y="508"/>
                  <a:pt x="247" y="508"/>
                  <a:pt x="247" y="508"/>
                </a:cubicBezTo>
                <a:cubicBezTo>
                  <a:pt x="245" y="508"/>
                  <a:pt x="243" y="508"/>
                  <a:pt x="241" y="508"/>
                </a:cubicBezTo>
                <a:cubicBezTo>
                  <a:pt x="241" y="508"/>
                  <a:pt x="241" y="508"/>
                  <a:pt x="241" y="508"/>
                </a:cubicBezTo>
                <a:cubicBezTo>
                  <a:pt x="239" y="508"/>
                  <a:pt x="236" y="508"/>
                  <a:pt x="234" y="507"/>
                </a:cubicBezTo>
                <a:cubicBezTo>
                  <a:pt x="234" y="507"/>
                  <a:pt x="234" y="507"/>
                  <a:pt x="234" y="507"/>
                </a:cubicBezTo>
                <a:cubicBezTo>
                  <a:pt x="232" y="507"/>
                  <a:pt x="230" y="507"/>
                  <a:pt x="228" y="507"/>
                </a:cubicBezTo>
                <a:cubicBezTo>
                  <a:pt x="228" y="507"/>
                  <a:pt x="228" y="507"/>
                  <a:pt x="228" y="507"/>
                </a:cubicBezTo>
                <a:cubicBezTo>
                  <a:pt x="226" y="507"/>
                  <a:pt x="224" y="506"/>
                  <a:pt x="222" y="506"/>
                </a:cubicBezTo>
                <a:cubicBezTo>
                  <a:pt x="222" y="506"/>
                  <a:pt x="222" y="506"/>
                  <a:pt x="222" y="506"/>
                </a:cubicBezTo>
                <a:cubicBezTo>
                  <a:pt x="220" y="506"/>
                  <a:pt x="218" y="506"/>
                  <a:pt x="215" y="505"/>
                </a:cubicBezTo>
                <a:cubicBezTo>
                  <a:pt x="215" y="505"/>
                  <a:pt x="215" y="505"/>
                  <a:pt x="215" y="505"/>
                </a:cubicBezTo>
                <a:cubicBezTo>
                  <a:pt x="213" y="505"/>
                  <a:pt x="211" y="505"/>
                  <a:pt x="209" y="504"/>
                </a:cubicBezTo>
                <a:cubicBezTo>
                  <a:pt x="209" y="504"/>
                  <a:pt x="209" y="504"/>
                  <a:pt x="209" y="504"/>
                </a:cubicBezTo>
                <a:cubicBezTo>
                  <a:pt x="207" y="504"/>
                  <a:pt x="205" y="504"/>
                  <a:pt x="203" y="503"/>
                </a:cubicBezTo>
                <a:cubicBezTo>
                  <a:pt x="203" y="503"/>
                  <a:pt x="203" y="503"/>
                  <a:pt x="203" y="503"/>
                </a:cubicBezTo>
                <a:cubicBezTo>
                  <a:pt x="201" y="503"/>
                  <a:pt x="199" y="502"/>
                  <a:pt x="197" y="502"/>
                </a:cubicBezTo>
                <a:cubicBezTo>
                  <a:pt x="197" y="502"/>
                  <a:pt x="197" y="502"/>
                  <a:pt x="197" y="502"/>
                </a:cubicBezTo>
                <a:cubicBezTo>
                  <a:pt x="195" y="501"/>
                  <a:pt x="193" y="501"/>
                  <a:pt x="191" y="500"/>
                </a:cubicBezTo>
                <a:cubicBezTo>
                  <a:pt x="191" y="500"/>
                  <a:pt x="191" y="500"/>
                  <a:pt x="191" y="500"/>
                </a:cubicBezTo>
                <a:cubicBezTo>
                  <a:pt x="189" y="500"/>
                  <a:pt x="187" y="499"/>
                  <a:pt x="185" y="499"/>
                </a:cubicBezTo>
                <a:cubicBezTo>
                  <a:pt x="185" y="499"/>
                  <a:pt x="185" y="499"/>
                  <a:pt x="185" y="499"/>
                </a:cubicBezTo>
                <a:cubicBezTo>
                  <a:pt x="181" y="498"/>
                  <a:pt x="177" y="496"/>
                  <a:pt x="173" y="495"/>
                </a:cubicBezTo>
                <a:cubicBezTo>
                  <a:pt x="173" y="495"/>
                  <a:pt x="173" y="495"/>
                  <a:pt x="173" y="495"/>
                </a:cubicBezTo>
                <a:cubicBezTo>
                  <a:pt x="95" y="469"/>
                  <a:pt x="33" y="406"/>
                  <a:pt x="9" y="325"/>
                </a:cubicBezTo>
                <a:cubicBezTo>
                  <a:pt x="9" y="325"/>
                  <a:pt x="9" y="325"/>
                  <a:pt x="9" y="325"/>
                </a:cubicBezTo>
                <a:cubicBezTo>
                  <a:pt x="8" y="319"/>
                  <a:pt x="6" y="313"/>
                  <a:pt x="5" y="306"/>
                </a:cubicBezTo>
                <a:cubicBezTo>
                  <a:pt x="5" y="306"/>
                  <a:pt x="5" y="306"/>
                  <a:pt x="5" y="306"/>
                </a:cubicBezTo>
                <a:cubicBezTo>
                  <a:pt x="4" y="304"/>
                  <a:pt x="4" y="302"/>
                  <a:pt x="4" y="300"/>
                </a:cubicBezTo>
                <a:cubicBezTo>
                  <a:pt x="4" y="300"/>
                  <a:pt x="4" y="300"/>
                  <a:pt x="4" y="300"/>
                </a:cubicBezTo>
                <a:cubicBezTo>
                  <a:pt x="3" y="298"/>
                  <a:pt x="3" y="296"/>
                  <a:pt x="3" y="294"/>
                </a:cubicBezTo>
                <a:cubicBezTo>
                  <a:pt x="3" y="294"/>
                  <a:pt x="3" y="294"/>
                  <a:pt x="3" y="294"/>
                </a:cubicBezTo>
                <a:cubicBezTo>
                  <a:pt x="2" y="289"/>
                  <a:pt x="1" y="285"/>
                  <a:pt x="1" y="281"/>
                </a:cubicBezTo>
                <a:cubicBezTo>
                  <a:pt x="1" y="281"/>
                  <a:pt x="1" y="281"/>
                  <a:pt x="1" y="281"/>
                </a:cubicBezTo>
                <a:cubicBezTo>
                  <a:pt x="1" y="279"/>
                  <a:pt x="1" y="276"/>
                  <a:pt x="0" y="274"/>
                </a:cubicBezTo>
                <a:cubicBezTo>
                  <a:pt x="0" y="274"/>
                  <a:pt x="0" y="274"/>
                  <a:pt x="0" y="274"/>
                </a:cubicBezTo>
                <a:cubicBezTo>
                  <a:pt x="0" y="270"/>
                  <a:pt x="0" y="265"/>
                  <a:pt x="0" y="261"/>
                </a:cubicBezTo>
                <a:cubicBezTo>
                  <a:pt x="0" y="261"/>
                  <a:pt x="0" y="261"/>
                  <a:pt x="0" y="261"/>
                </a:cubicBezTo>
                <a:cubicBezTo>
                  <a:pt x="0" y="259"/>
                  <a:pt x="0" y="257"/>
                  <a:pt x="0" y="254"/>
                </a:cubicBezTo>
                <a:cubicBezTo>
                  <a:pt x="0" y="254"/>
                  <a:pt x="0" y="254"/>
                  <a:pt x="0" y="254"/>
                </a:cubicBezTo>
                <a:cubicBezTo>
                  <a:pt x="0" y="252"/>
                  <a:pt x="0" y="250"/>
                  <a:pt x="0" y="248"/>
                </a:cubicBezTo>
                <a:cubicBezTo>
                  <a:pt x="0" y="248"/>
                  <a:pt x="0" y="248"/>
                  <a:pt x="0" y="248"/>
                </a:cubicBezTo>
                <a:cubicBezTo>
                  <a:pt x="0" y="243"/>
                  <a:pt x="0" y="239"/>
                  <a:pt x="0" y="234"/>
                </a:cubicBezTo>
                <a:cubicBezTo>
                  <a:pt x="0" y="234"/>
                  <a:pt x="0" y="234"/>
                  <a:pt x="0" y="234"/>
                </a:cubicBezTo>
                <a:cubicBezTo>
                  <a:pt x="1" y="232"/>
                  <a:pt x="1" y="230"/>
                  <a:pt x="1" y="228"/>
                </a:cubicBezTo>
                <a:cubicBezTo>
                  <a:pt x="1" y="228"/>
                  <a:pt x="1" y="228"/>
                  <a:pt x="1" y="228"/>
                </a:cubicBezTo>
                <a:cubicBezTo>
                  <a:pt x="1" y="223"/>
                  <a:pt x="2" y="219"/>
                  <a:pt x="3" y="215"/>
                </a:cubicBezTo>
                <a:cubicBezTo>
                  <a:pt x="3" y="215"/>
                  <a:pt x="3" y="215"/>
                  <a:pt x="3" y="215"/>
                </a:cubicBezTo>
                <a:cubicBezTo>
                  <a:pt x="3" y="213"/>
                  <a:pt x="3" y="210"/>
                  <a:pt x="4" y="208"/>
                </a:cubicBezTo>
                <a:cubicBezTo>
                  <a:pt x="4" y="208"/>
                  <a:pt x="4" y="208"/>
                  <a:pt x="4" y="208"/>
                </a:cubicBezTo>
                <a:cubicBezTo>
                  <a:pt x="4" y="206"/>
                  <a:pt x="4" y="204"/>
                  <a:pt x="5" y="202"/>
                </a:cubicBezTo>
                <a:cubicBezTo>
                  <a:pt x="5" y="202"/>
                  <a:pt x="5" y="202"/>
                  <a:pt x="5" y="202"/>
                </a:cubicBezTo>
                <a:cubicBezTo>
                  <a:pt x="6" y="196"/>
                  <a:pt x="8" y="190"/>
                  <a:pt x="9" y="184"/>
                </a:cubicBezTo>
                <a:cubicBezTo>
                  <a:pt x="9" y="184"/>
                  <a:pt x="9" y="184"/>
                  <a:pt x="9" y="184"/>
                </a:cubicBezTo>
                <a:cubicBezTo>
                  <a:pt x="33" y="102"/>
                  <a:pt x="95" y="39"/>
                  <a:pt x="173" y="13"/>
                </a:cubicBezTo>
                <a:cubicBezTo>
                  <a:pt x="173" y="13"/>
                  <a:pt x="173" y="13"/>
                  <a:pt x="173" y="13"/>
                </a:cubicBezTo>
                <a:cubicBezTo>
                  <a:pt x="177" y="12"/>
                  <a:pt x="181" y="11"/>
                  <a:pt x="185" y="10"/>
                </a:cubicBezTo>
                <a:cubicBezTo>
                  <a:pt x="185" y="10"/>
                  <a:pt x="185" y="10"/>
                  <a:pt x="185" y="10"/>
                </a:cubicBezTo>
                <a:cubicBezTo>
                  <a:pt x="187" y="9"/>
                  <a:pt x="189" y="9"/>
                  <a:pt x="191" y="8"/>
                </a:cubicBezTo>
                <a:cubicBezTo>
                  <a:pt x="191" y="8"/>
                  <a:pt x="191" y="8"/>
                  <a:pt x="191" y="8"/>
                </a:cubicBezTo>
                <a:cubicBezTo>
                  <a:pt x="193" y="8"/>
                  <a:pt x="195" y="7"/>
                  <a:pt x="197" y="7"/>
                </a:cubicBezTo>
                <a:cubicBezTo>
                  <a:pt x="197" y="7"/>
                  <a:pt x="197" y="7"/>
                  <a:pt x="197" y="7"/>
                </a:cubicBezTo>
                <a:cubicBezTo>
                  <a:pt x="199" y="6"/>
                  <a:pt x="201" y="6"/>
                  <a:pt x="203" y="5"/>
                </a:cubicBezTo>
                <a:cubicBezTo>
                  <a:pt x="203" y="5"/>
                  <a:pt x="203" y="5"/>
                  <a:pt x="203" y="5"/>
                </a:cubicBezTo>
                <a:cubicBezTo>
                  <a:pt x="205" y="5"/>
                  <a:pt x="207" y="5"/>
                  <a:pt x="209" y="4"/>
                </a:cubicBezTo>
                <a:cubicBezTo>
                  <a:pt x="209" y="4"/>
                  <a:pt x="209" y="4"/>
                  <a:pt x="209" y="4"/>
                </a:cubicBezTo>
                <a:cubicBezTo>
                  <a:pt x="211" y="4"/>
                  <a:pt x="213" y="4"/>
                  <a:pt x="215" y="3"/>
                </a:cubicBezTo>
                <a:cubicBezTo>
                  <a:pt x="215" y="3"/>
                  <a:pt x="215" y="3"/>
                  <a:pt x="215" y="3"/>
                </a:cubicBezTo>
                <a:cubicBezTo>
                  <a:pt x="218" y="3"/>
                  <a:pt x="220" y="3"/>
                  <a:pt x="222" y="2"/>
                </a:cubicBezTo>
                <a:cubicBezTo>
                  <a:pt x="222" y="2"/>
                  <a:pt x="222" y="2"/>
                  <a:pt x="222" y="2"/>
                </a:cubicBezTo>
                <a:cubicBezTo>
                  <a:pt x="224" y="2"/>
                  <a:pt x="226" y="2"/>
                  <a:pt x="228" y="2"/>
                </a:cubicBezTo>
                <a:cubicBezTo>
                  <a:pt x="228" y="2"/>
                  <a:pt x="228" y="2"/>
                  <a:pt x="228" y="2"/>
                </a:cubicBezTo>
                <a:cubicBezTo>
                  <a:pt x="230" y="1"/>
                  <a:pt x="232" y="1"/>
                  <a:pt x="234" y="1"/>
                </a:cubicBezTo>
                <a:cubicBezTo>
                  <a:pt x="234" y="1"/>
                  <a:pt x="234" y="1"/>
                  <a:pt x="234" y="1"/>
                </a:cubicBezTo>
                <a:cubicBezTo>
                  <a:pt x="236" y="1"/>
                  <a:pt x="239" y="1"/>
                  <a:pt x="241" y="1"/>
                </a:cubicBezTo>
                <a:cubicBezTo>
                  <a:pt x="241" y="1"/>
                  <a:pt x="241" y="1"/>
                  <a:pt x="241" y="1"/>
                </a:cubicBezTo>
                <a:cubicBezTo>
                  <a:pt x="243" y="1"/>
                  <a:pt x="245" y="1"/>
                  <a:pt x="247" y="1"/>
                </a:cubicBezTo>
                <a:cubicBezTo>
                  <a:pt x="247" y="1"/>
                  <a:pt x="247" y="1"/>
                  <a:pt x="247" y="1"/>
                </a:cubicBezTo>
                <a:cubicBezTo>
                  <a:pt x="249" y="0"/>
                  <a:pt x="251" y="0"/>
                  <a:pt x="254" y="0"/>
                </a:cubicBezTo>
                <a:cubicBezTo>
                  <a:pt x="254" y="0"/>
                  <a:pt x="254" y="0"/>
                  <a:pt x="254" y="0"/>
                </a:cubicBezTo>
                <a:cubicBezTo>
                  <a:pt x="254" y="0"/>
                  <a:pt x="254" y="0"/>
                  <a:pt x="254" y="0"/>
                </a:cubicBezTo>
                <a:cubicBezTo>
                  <a:pt x="256" y="0"/>
                  <a:pt x="259" y="1"/>
                  <a:pt x="262" y="1"/>
                </a:cubicBezTo>
                <a:cubicBezTo>
                  <a:pt x="262" y="1"/>
                  <a:pt x="263" y="1"/>
                  <a:pt x="264" y="1"/>
                </a:cubicBezTo>
                <a:cubicBezTo>
                  <a:pt x="265" y="1"/>
                  <a:pt x="267" y="1"/>
                  <a:pt x="268" y="1"/>
                </a:cubicBezTo>
                <a:cubicBezTo>
                  <a:pt x="359" y="6"/>
                  <a:pt x="412" y="55"/>
                  <a:pt x="489" y="89"/>
                </a:cubicBezTo>
                <a:close/>
              </a:path>
            </a:pathLst>
          </a:custGeom>
          <a:solidFill>
            <a:schemeClr val="accent1">
              <a:lumMod val="100000"/>
            </a:schemeClr>
          </a:solidFill>
          <a:ln>
            <a:noFill/>
          </a:ln>
          <a:effectLst/>
        </p:spPr>
        <p:txBody>
          <a:bodyPr vert="horz" wrap="square" lIns="42863" tIns="21431" rIns="42863" bIns="21431" numCol="1" anchor="t" anchorCtr="0" compatLnSpc="1">
            <a:prstTxWarp prst="textNoShape">
              <a:avLst/>
            </a:prstTxWarp>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685783">
              <a:defRPr/>
            </a:pPr>
            <a:endParaRPr lang="en-US" sz="1013" b="1">
              <a:solidFill>
                <a:prstClr val="black"/>
              </a:solidFill>
              <a:latin typeface="Franklin Gothic Book" panose="020B0503020102020204"/>
            </a:endParaRPr>
          </a:p>
        </p:txBody>
      </p:sp>
      <p:sp>
        <p:nvSpPr>
          <p:cNvPr id="8" name="Freeform 13">
            <a:extLst>
              <a:ext uri="{FF2B5EF4-FFF2-40B4-BE49-F238E27FC236}">
                <a16:creationId xmlns:a16="http://schemas.microsoft.com/office/drawing/2014/main" id="{0083854C-ECA3-41C6-8692-5DA62342E22B}"/>
              </a:ext>
            </a:extLst>
          </p:cNvPr>
          <p:cNvSpPr/>
          <p:nvPr>
            <p:custDataLst>
              <p:tags r:id="rId26"/>
            </p:custDataLst>
          </p:nvPr>
        </p:nvSpPr>
        <p:spPr>
          <a:xfrm>
            <a:off x="5446868" y="1890295"/>
            <a:ext cx="594471" cy="593069"/>
          </a:xfrm>
          <a:custGeom>
            <a:avLst/>
            <a:gdLst>
              <a:gd name="T0" fmla="*/ 86 w 483"/>
              <a:gd name="T1" fmla="*/ 397 h 483"/>
              <a:gd name="T2" fmla="*/ 397 w 483"/>
              <a:gd name="T3" fmla="*/ 397 h 483"/>
              <a:gd name="T4" fmla="*/ 397 w 483"/>
              <a:gd name="T5" fmla="*/ 86 h 483"/>
              <a:gd name="T6" fmla="*/ 86 w 483"/>
              <a:gd name="T7" fmla="*/ 86 h 483"/>
              <a:gd name="T8" fmla="*/ 86 w 483"/>
              <a:gd name="T9" fmla="*/ 397 h 483"/>
            </a:gdLst>
            <a:ahLst/>
            <a:cxnLst>
              <a:cxn ang="0">
                <a:pos x="T0" y="T1"/>
              </a:cxn>
              <a:cxn ang="0">
                <a:pos x="T2" y="T3"/>
              </a:cxn>
              <a:cxn ang="0">
                <a:pos x="T4" y="T5"/>
              </a:cxn>
              <a:cxn ang="0">
                <a:pos x="T6" y="T7"/>
              </a:cxn>
              <a:cxn ang="0">
                <a:pos x="T8" y="T9"/>
              </a:cxn>
            </a:cxnLst>
            <a:rect l="0" t="0" r="r" b="b"/>
            <a:pathLst>
              <a:path w="482" h="482">
                <a:moveTo>
                  <a:pt x="86" y="397"/>
                </a:moveTo>
                <a:cubicBezTo>
                  <a:pt x="172" y="483"/>
                  <a:pt x="311" y="483"/>
                  <a:pt x="397" y="397"/>
                </a:cubicBezTo>
                <a:cubicBezTo>
                  <a:pt x="483" y="311"/>
                  <a:pt x="483" y="172"/>
                  <a:pt x="397" y="86"/>
                </a:cubicBezTo>
                <a:cubicBezTo>
                  <a:pt x="311" y="0"/>
                  <a:pt x="172" y="0"/>
                  <a:pt x="86" y="86"/>
                </a:cubicBezTo>
                <a:cubicBezTo>
                  <a:pt x="0" y="172"/>
                  <a:pt x="0" y="311"/>
                  <a:pt x="86" y="397"/>
                </a:cubicBezTo>
                <a:close/>
              </a:path>
            </a:pathLst>
          </a:custGeom>
          <a:solidFill>
            <a:srgbClr val="FEFEFE"/>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42863" tIns="21431" rIns="42863" bIns="21431" numCol="1" anchor="t" anchorCtr="0" compatLnSpc="1">
            <a:prstTxWarp prst="textNoShape">
              <a:avLst/>
            </a:prstTxWarp>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685783">
              <a:defRPr/>
            </a:pPr>
            <a:endParaRPr lang="en-US" sz="1013" b="1">
              <a:solidFill>
                <a:prstClr val="black"/>
              </a:solidFill>
              <a:latin typeface="Franklin Gothic Book" panose="020B0503020102020204"/>
            </a:endParaRPr>
          </a:p>
        </p:txBody>
      </p:sp>
      <p:sp>
        <p:nvSpPr>
          <p:cNvPr id="9" name="Shape5_20210625_204930">
            <a:extLst>
              <a:ext uri="{FF2B5EF4-FFF2-40B4-BE49-F238E27FC236}">
                <a16:creationId xmlns:a16="http://schemas.microsoft.com/office/drawing/2014/main" id="{D07CAF39-50CD-48D5-9E11-00C76E45A1F1}"/>
              </a:ext>
            </a:extLst>
          </p:cNvPr>
          <p:cNvSpPr/>
          <p:nvPr>
            <p:custDataLst>
              <p:tags r:id="rId27"/>
            </p:custDataLst>
          </p:nvPr>
        </p:nvSpPr>
        <p:spPr>
          <a:xfrm>
            <a:off x="5432815" y="1873434"/>
            <a:ext cx="623984" cy="1610554"/>
          </a:xfrm>
          <a:custGeom>
            <a:avLst/>
            <a:gdLst>
              <a:gd name="T0" fmla="*/ 89 w 508"/>
              <a:gd name="T1" fmla="*/ 488 h 1309"/>
              <a:gd name="T2" fmla="*/ 0 w 508"/>
              <a:gd name="T3" fmla="*/ 262 h 1309"/>
              <a:gd name="T4" fmla="*/ 0 w 508"/>
              <a:gd name="T5" fmla="*/ 254 h 1309"/>
              <a:gd name="T6" fmla="*/ 0 w 508"/>
              <a:gd name="T7" fmla="*/ 241 h 1309"/>
              <a:gd name="T8" fmla="*/ 1 w 508"/>
              <a:gd name="T9" fmla="*/ 234 h 1309"/>
              <a:gd name="T10" fmla="*/ 2 w 508"/>
              <a:gd name="T11" fmla="*/ 222 h 1309"/>
              <a:gd name="T12" fmla="*/ 3 w 508"/>
              <a:gd name="T13" fmla="*/ 216 h 1309"/>
              <a:gd name="T14" fmla="*/ 5 w 508"/>
              <a:gd name="T15" fmla="*/ 203 h 1309"/>
              <a:gd name="T16" fmla="*/ 7 w 508"/>
              <a:gd name="T17" fmla="*/ 197 h 1309"/>
              <a:gd name="T18" fmla="*/ 9 w 508"/>
              <a:gd name="T19" fmla="*/ 185 h 1309"/>
              <a:gd name="T20" fmla="*/ 13 w 508"/>
              <a:gd name="T21" fmla="*/ 173 h 1309"/>
              <a:gd name="T22" fmla="*/ 202 w 508"/>
              <a:gd name="T23" fmla="*/ 5 h 1309"/>
              <a:gd name="T24" fmla="*/ 208 w 508"/>
              <a:gd name="T25" fmla="*/ 4 h 1309"/>
              <a:gd name="T26" fmla="*/ 227 w 508"/>
              <a:gd name="T27" fmla="*/ 1 h 1309"/>
              <a:gd name="T28" fmla="*/ 234 w 508"/>
              <a:gd name="T29" fmla="*/ 0 h 1309"/>
              <a:gd name="T30" fmla="*/ 254 w 508"/>
              <a:gd name="T31" fmla="*/ 0 h 1309"/>
              <a:gd name="T32" fmla="*/ 261 w 508"/>
              <a:gd name="T33" fmla="*/ 0 h 1309"/>
              <a:gd name="T34" fmla="*/ 281 w 508"/>
              <a:gd name="T35" fmla="*/ 1 h 1309"/>
              <a:gd name="T36" fmla="*/ 294 w 508"/>
              <a:gd name="T37" fmla="*/ 3 h 1309"/>
              <a:gd name="T38" fmla="*/ 306 w 508"/>
              <a:gd name="T39" fmla="*/ 5 h 1309"/>
              <a:gd name="T40" fmla="*/ 325 w 508"/>
              <a:gd name="T41" fmla="*/ 10 h 1309"/>
              <a:gd name="T42" fmla="*/ 498 w 508"/>
              <a:gd name="T43" fmla="*/ 185 h 1309"/>
              <a:gd name="T44" fmla="*/ 500 w 508"/>
              <a:gd name="T45" fmla="*/ 191 h 1309"/>
              <a:gd name="T46" fmla="*/ 503 w 508"/>
              <a:gd name="T47" fmla="*/ 203 h 1309"/>
              <a:gd name="T48" fmla="*/ 504 w 508"/>
              <a:gd name="T49" fmla="*/ 209 h 1309"/>
              <a:gd name="T50" fmla="*/ 506 w 508"/>
              <a:gd name="T51" fmla="*/ 222 h 1309"/>
              <a:gd name="T52" fmla="*/ 507 w 508"/>
              <a:gd name="T53" fmla="*/ 228 h 1309"/>
              <a:gd name="T54" fmla="*/ 508 w 508"/>
              <a:gd name="T55" fmla="*/ 241 h 1309"/>
              <a:gd name="T56" fmla="*/ 508 w 508"/>
              <a:gd name="T57" fmla="*/ 247 h 1309"/>
              <a:gd name="T58" fmla="*/ 508 w 508"/>
              <a:gd name="T59" fmla="*/ 255 h 1309"/>
              <a:gd name="T60" fmla="*/ 508 w 508"/>
              <a:gd name="T61" fmla="*/ 261 h 1309"/>
              <a:gd name="T62" fmla="*/ 419 w 508"/>
              <a:gd name="T63" fmla="*/ 819 h 1309"/>
              <a:gd name="T64" fmla="*/ 508 w 508"/>
              <a:gd name="T65" fmla="*/ 1047 h 1309"/>
              <a:gd name="T66" fmla="*/ 508 w 508"/>
              <a:gd name="T67" fmla="*/ 1055 h 1309"/>
              <a:gd name="T68" fmla="*/ 508 w 508"/>
              <a:gd name="T69" fmla="*/ 1067 h 1309"/>
              <a:gd name="T70" fmla="*/ 507 w 508"/>
              <a:gd name="T71" fmla="*/ 1074 h 1309"/>
              <a:gd name="T72" fmla="*/ 506 w 508"/>
              <a:gd name="T73" fmla="*/ 1086 h 1309"/>
              <a:gd name="T74" fmla="*/ 505 w 508"/>
              <a:gd name="T75" fmla="*/ 1093 h 1309"/>
              <a:gd name="T76" fmla="*/ 503 w 508"/>
              <a:gd name="T77" fmla="*/ 1105 h 1309"/>
              <a:gd name="T78" fmla="*/ 502 w 508"/>
              <a:gd name="T79" fmla="*/ 1111 h 1309"/>
              <a:gd name="T80" fmla="*/ 498 w 508"/>
              <a:gd name="T81" fmla="*/ 1123 h 1309"/>
              <a:gd name="T82" fmla="*/ 495 w 508"/>
              <a:gd name="T83" fmla="*/ 1135 h 1309"/>
              <a:gd name="T84" fmla="*/ 306 w 508"/>
              <a:gd name="T85" fmla="*/ 1303 h 1309"/>
              <a:gd name="T86" fmla="*/ 300 w 508"/>
              <a:gd name="T87" fmla="*/ 1305 h 1309"/>
              <a:gd name="T88" fmla="*/ 281 w 508"/>
              <a:gd name="T89" fmla="*/ 1307 h 1309"/>
              <a:gd name="T90" fmla="*/ 274 w 508"/>
              <a:gd name="T91" fmla="*/ 1308 h 1309"/>
              <a:gd name="T92" fmla="*/ 254 w 508"/>
              <a:gd name="T93" fmla="*/ 1309 h 1309"/>
              <a:gd name="T94" fmla="*/ 247 w 508"/>
              <a:gd name="T95" fmla="*/ 1309 h 1309"/>
              <a:gd name="T96" fmla="*/ 227 w 508"/>
              <a:gd name="T97" fmla="*/ 1307 h 1309"/>
              <a:gd name="T98" fmla="*/ 215 w 508"/>
              <a:gd name="T99" fmla="*/ 1306 h 1309"/>
              <a:gd name="T100" fmla="*/ 202 w 508"/>
              <a:gd name="T101" fmla="*/ 1303 h 1309"/>
              <a:gd name="T102" fmla="*/ 183 w 508"/>
              <a:gd name="T103" fmla="*/ 1299 h 1309"/>
              <a:gd name="T104" fmla="*/ 9 w 508"/>
              <a:gd name="T105" fmla="*/ 1123 h 1309"/>
              <a:gd name="T106" fmla="*/ 8 w 508"/>
              <a:gd name="T107" fmla="*/ 1117 h 1309"/>
              <a:gd name="T108" fmla="*/ 5 w 508"/>
              <a:gd name="T109" fmla="*/ 1105 h 1309"/>
              <a:gd name="T110" fmla="*/ 4 w 508"/>
              <a:gd name="T111" fmla="*/ 1099 h 1309"/>
              <a:gd name="T112" fmla="*/ 2 w 508"/>
              <a:gd name="T113" fmla="*/ 1086 h 1309"/>
              <a:gd name="T114" fmla="*/ 1 w 508"/>
              <a:gd name="T115" fmla="*/ 1080 h 1309"/>
              <a:gd name="T116" fmla="*/ 0 w 508"/>
              <a:gd name="T117" fmla="*/ 1067 h 1309"/>
              <a:gd name="T118" fmla="*/ 0 w 508"/>
              <a:gd name="T119" fmla="*/ 1061 h 1309"/>
              <a:gd name="T120" fmla="*/ 0 w 508"/>
              <a:gd name="T121" fmla="*/ 1055 h 1309"/>
              <a:gd name="T122" fmla="*/ 1 w 508"/>
              <a:gd name="T123" fmla="*/ 1040 h 1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08" h="1309">
                <a:moveTo>
                  <a:pt x="89" y="819"/>
                </a:moveTo>
                <a:cubicBezTo>
                  <a:pt x="107" y="775"/>
                  <a:pt x="121" y="724"/>
                  <a:pt x="122" y="656"/>
                </a:cubicBezTo>
                <a:cubicBezTo>
                  <a:pt x="122" y="586"/>
                  <a:pt x="107" y="533"/>
                  <a:pt x="89" y="488"/>
                </a:cubicBezTo>
                <a:cubicBezTo>
                  <a:pt x="54" y="412"/>
                  <a:pt x="6" y="358"/>
                  <a:pt x="1" y="269"/>
                </a:cubicBezTo>
                <a:cubicBezTo>
                  <a:pt x="0" y="267"/>
                  <a:pt x="0" y="266"/>
                  <a:pt x="0" y="264"/>
                </a:cubicBezTo>
                <a:cubicBezTo>
                  <a:pt x="0" y="262"/>
                  <a:pt x="0" y="262"/>
                  <a:pt x="0" y="262"/>
                </a:cubicBezTo>
                <a:cubicBezTo>
                  <a:pt x="0" y="259"/>
                  <a:pt x="0" y="257"/>
                  <a:pt x="0" y="254"/>
                </a:cubicBezTo>
                <a:cubicBezTo>
                  <a:pt x="0" y="254"/>
                  <a:pt x="0" y="254"/>
                  <a:pt x="0" y="254"/>
                </a:cubicBezTo>
                <a:cubicBezTo>
                  <a:pt x="0" y="254"/>
                  <a:pt x="0" y="254"/>
                  <a:pt x="0" y="254"/>
                </a:cubicBezTo>
                <a:cubicBezTo>
                  <a:pt x="0" y="251"/>
                  <a:pt x="0" y="249"/>
                  <a:pt x="0" y="247"/>
                </a:cubicBezTo>
                <a:cubicBezTo>
                  <a:pt x="0" y="247"/>
                  <a:pt x="0" y="247"/>
                  <a:pt x="0" y="247"/>
                </a:cubicBezTo>
                <a:cubicBezTo>
                  <a:pt x="0" y="245"/>
                  <a:pt x="0" y="243"/>
                  <a:pt x="0" y="241"/>
                </a:cubicBezTo>
                <a:cubicBezTo>
                  <a:pt x="0" y="241"/>
                  <a:pt x="0" y="241"/>
                  <a:pt x="0" y="241"/>
                </a:cubicBezTo>
                <a:cubicBezTo>
                  <a:pt x="1" y="239"/>
                  <a:pt x="1" y="237"/>
                  <a:pt x="1" y="234"/>
                </a:cubicBezTo>
                <a:cubicBezTo>
                  <a:pt x="1" y="234"/>
                  <a:pt x="1" y="234"/>
                  <a:pt x="1" y="234"/>
                </a:cubicBezTo>
                <a:cubicBezTo>
                  <a:pt x="1" y="232"/>
                  <a:pt x="1" y="230"/>
                  <a:pt x="1" y="228"/>
                </a:cubicBezTo>
                <a:cubicBezTo>
                  <a:pt x="1" y="228"/>
                  <a:pt x="1" y="228"/>
                  <a:pt x="1" y="228"/>
                </a:cubicBezTo>
                <a:cubicBezTo>
                  <a:pt x="2" y="226"/>
                  <a:pt x="2" y="224"/>
                  <a:pt x="2" y="222"/>
                </a:cubicBezTo>
                <a:cubicBezTo>
                  <a:pt x="2" y="222"/>
                  <a:pt x="2" y="222"/>
                  <a:pt x="2" y="222"/>
                </a:cubicBezTo>
                <a:cubicBezTo>
                  <a:pt x="2" y="220"/>
                  <a:pt x="3" y="218"/>
                  <a:pt x="3" y="216"/>
                </a:cubicBezTo>
                <a:cubicBezTo>
                  <a:pt x="3" y="216"/>
                  <a:pt x="3" y="216"/>
                  <a:pt x="3" y="216"/>
                </a:cubicBezTo>
                <a:cubicBezTo>
                  <a:pt x="3" y="214"/>
                  <a:pt x="4" y="212"/>
                  <a:pt x="4" y="209"/>
                </a:cubicBezTo>
                <a:cubicBezTo>
                  <a:pt x="4" y="209"/>
                  <a:pt x="4" y="209"/>
                  <a:pt x="4" y="209"/>
                </a:cubicBezTo>
                <a:cubicBezTo>
                  <a:pt x="4" y="207"/>
                  <a:pt x="5" y="205"/>
                  <a:pt x="5" y="203"/>
                </a:cubicBezTo>
                <a:cubicBezTo>
                  <a:pt x="5" y="203"/>
                  <a:pt x="5" y="203"/>
                  <a:pt x="5" y="203"/>
                </a:cubicBezTo>
                <a:cubicBezTo>
                  <a:pt x="6" y="201"/>
                  <a:pt x="6" y="199"/>
                  <a:pt x="7" y="197"/>
                </a:cubicBezTo>
                <a:cubicBezTo>
                  <a:pt x="7" y="197"/>
                  <a:pt x="7" y="197"/>
                  <a:pt x="7" y="197"/>
                </a:cubicBezTo>
                <a:cubicBezTo>
                  <a:pt x="7" y="195"/>
                  <a:pt x="7" y="193"/>
                  <a:pt x="8" y="191"/>
                </a:cubicBezTo>
                <a:cubicBezTo>
                  <a:pt x="8" y="191"/>
                  <a:pt x="8" y="191"/>
                  <a:pt x="8" y="191"/>
                </a:cubicBezTo>
                <a:cubicBezTo>
                  <a:pt x="8" y="189"/>
                  <a:pt x="9" y="187"/>
                  <a:pt x="9" y="185"/>
                </a:cubicBezTo>
                <a:cubicBezTo>
                  <a:pt x="9" y="185"/>
                  <a:pt x="9" y="185"/>
                  <a:pt x="9" y="185"/>
                </a:cubicBezTo>
                <a:cubicBezTo>
                  <a:pt x="11" y="181"/>
                  <a:pt x="12" y="177"/>
                  <a:pt x="13" y="173"/>
                </a:cubicBezTo>
                <a:cubicBezTo>
                  <a:pt x="13" y="173"/>
                  <a:pt x="13" y="173"/>
                  <a:pt x="13" y="173"/>
                </a:cubicBezTo>
                <a:cubicBezTo>
                  <a:pt x="39" y="95"/>
                  <a:pt x="102" y="33"/>
                  <a:pt x="183" y="10"/>
                </a:cubicBezTo>
                <a:cubicBezTo>
                  <a:pt x="183" y="10"/>
                  <a:pt x="183" y="10"/>
                  <a:pt x="183" y="10"/>
                </a:cubicBezTo>
                <a:cubicBezTo>
                  <a:pt x="189" y="8"/>
                  <a:pt x="196" y="6"/>
                  <a:pt x="202" y="5"/>
                </a:cubicBezTo>
                <a:cubicBezTo>
                  <a:pt x="202" y="5"/>
                  <a:pt x="202" y="5"/>
                  <a:pt x="202" y="5"/>
                </a:cubicBezTo>
                <a:cubicBezTo>
                  <a:pt x="204" y="5"/>
                  <a:pt x="206" y="4"/>
                  <a:pt x="208" y="4"/>
                </a:cubicBezTo>
                <a:cubicBezTo>
                  <a:pt x="208" y="4"/>
                  <a:pt x="208" y="4"/>
                  <a:pt x="208" y="4"/>
                </a:cubicBezTo>
                <a:cubicBezTo>
                  <a:pt x="210" y="3"/>
                  <a:pt x="212" y="3"/>
                  <a:pt x="215" y="3"/>
                </a:cubicBezTo>
                <a:cubicBezTo>
                  <a:pt x="215" y="3"/>
                  <a:pt x="215" y="3"/>
                  <a:pt x="215" y="3"/>
                </a:cubicBezTo>
                <a:cubicBezTo>
                  <a:pt x="219" y="2"/>
                  <a:pt x="223" y="2"/>
                  <a:pt x="227" y="1"/>
                </a:cubicBezTo>
                <a:cubicBezTo>
                  <a:pt x="227" y="1"/>
                  <a:pt x="227" y="1"/>
                  <a:pt x="227" y="1"/>
                </a:cubicBezTo>
                <a:cubicBezTo>
                  <a:pt x="230" y="1"/>
                  <a:pt x="232" y="1"/>
                  <a:pt x="234" y="0"/>
                </a:cubicBezTo>
                <a:cubicBezTo>
                  <a:pt x="234" y="0"/>
                  <a:pt x="234" y="0"/>
                  <a:pt x="234" y="0"/>
                </a:cubicBezTo>
                <a:cubicBezTo>
                  <a:pt x="238" y="0"/>
                  <a:pt x="243" y="0"/>
                  <a:pt x="247" y="0"/>
                </a:cubicBezTo>
                <a:cubicBezTo>
                  <a:pt x="247" y="0"/>
                  <a:pt x="247" y="0"/>
                  <a:pt x="247" y="0"/>
                </a:cubicBezTo>
                <a:cubicBezTo>
                  <a:pt x="250" y="0"/>
                  <a:pt x="252" y="0"/>
                  <a:pt x="254" y="0"/>
                </a:cubicBezTo>
                <a:cubicBezTo>
                  <a:pt x="254" y="0"/>
                  <a:pt x="254" y="0"/>
                  <a:pt x="254" y="0"/>
                </a:cubicBezTo>
                <a:cubicBezTo>
                  <a:pt x="256" y="0"/>
                  <a:pt x="259" y="0"/>
                  <a:pt x="261" y="0"/>
                </a:cubicBezTo>
                <a:cubicBezTo>
                  <a:pt x="261" y="0"/>
                  <a:pt x="261" y="0"/>
                  <a:pt x="261" y="0"/>
                </a:cubicBezTo>
                <a:cubicBezTo>
                  <a:pt x="265" y="0"/>
                  <a:pt x="270" y="0"/>
                  <a:pt x="274" y="0"/>
                </a:cubicBezTo>
                <a:cubicBezTo>
                  <a:pt x="274" y="0"/>
                  <a:pt x="274" y="0"/>
                  <a:pt x="274" y="0"/>
                </a:cubicBezTo>
                <a:cubicBezTo>
                  <a:pt x="276" y="1"/>
                  <a:pt x="278" y="1"/>
                  <a:pt x="281" y="1"/>
                </a:cubicBezTo>
                <a:cubicBezTo>
                  <a:pt x="281" y="1"/>
                  <a:pt x="281" y="1"/>
                  <a:pt x="281" y="1"/>
                </a:cubicBezTo>
                <a:cubicBezTo>
                  <a:pt x="285" y="2"/>
                  <a:pt x="289" y="2"/>
                  <a:pt x="294" y="3"/>
                </a:cubicBezTo>
                <a:cubicBezTo>
                  <a:pt x="294" y="3"/>
                  <a:pt x="294" y="3"/>
                  <a:pt x="294" y="3"/>
                </a:cubicBezTo>
                <a:cubicBezTo>
                  <a:pt x="296" y="3"/>
                  <a:pt x="298" y="3"/>
                  <a:pt x="300" y="4"/>
                </a:cubicBezTo>
                <a:cubicBezTo>
                  <a:pt x="300" y="4"/>
                  <a:pt x="300" y="4"/>
                  <a:pt x="300" y="4"/>
                </a:cubicBezTo>
                <a:cubicBezTo>
                  <a:pt x="302" y="4"/>
                  <a:pt x="304" y="5"/>
                  <a:pt x="306" y="5"/>
                </a:cubicBezTo>
                <a:cubicBezTo>
                  <a:pt x="306" y="5"/>
                  <a:pt x="306" y="5"/>
                  <a:pt x="306" y="5"/>
                </a:cubicBezTo>
                <a:cubicBezTo>
                  <a:pt x="312" y="6"/>
                  <a:pt x="319" y="8"/>
                  <a:pt x="325" y="10"/>
                </a:cubicBezTo>
                <a:cubicBezTo>
                  <a:pt x="325" y="10"/>
                  <a:pt x="325" y="10"/>
                  <a:pt x="325" y="10"/>
                </a:cubicBezTo>
                <a:cubicBezTo>
                  <a:pt x="406" y="33"/>
                  <a:pt x="469" y="95"/>
                  <a:pt x="495" y="173"/>
                </a:cubicBezTo>
                <a:cubicBezTo>
                  <a:pt x="495" y="173"/>
                  <a:pt x="495" y="173"/>
                  <a:pt x="495" y="173"/>
                </a:cubicBezTo>
                <a:cubicBezTo>
                  <a:pt x="496" y="177"/>
                  <a:pt x="497" y="181"/>
                  <a:pt x="498" y="185"/>
                </a:cubicBezTo>
                <a:cubicBezTo>
                  <a:pt x="498" y="185"/>
                  <a:pt x="498" y="185"/>
                  <a:pt x="498" y="185"/>
                </a:cubicBezTo>
                <a:cubicBezTo>
                  <a:pt x="499" y="187"/>
                  <a:pt x="500" y="189"/>
                  <a:pt x="500" y="191"/>
                </a:cubicBezTo>
                <a:cubicBezTo>
                  <a:pt x="500" y="191"/>
                  <a:pt x="500" y="191"/>
                  <a:pt x="500" y="191"/>
                </a:cubicBezTo>
                <a:cubicBezTo>
                  <a:pt x="501" y="193"/>
                  <a:pt x="501" y="195"/>
                  <a:pt x="502" y="197"/>
                </a:cubicBezTo>
                <a:cubicBezTo>
                  <a:pt x="502" y="197"/>
                  <a:pt x="502" y="197"/>
                  <a:pt x="502" y="197"/>
                </a:cubicBezTo>
                <a:cubicBezTo>
                  <a:pt x="502" y="199"/>
                  <a:pt x="502" y="201"/>
                  <a:pt x="503" y="203"/>
                </a:cubicBezTo>
                <a:cubicBezTo>
                  <a:pt x="503" y="203"/>
                  <a:pt x="503" y="203"/>
                  <a:pt x="503" y="203"/>
                </a:cubicBezTo>
                <a:cubicBezTo>
                  <a:pt x="503" y="205"/>
                  <a:pt x="504" y="207"/>
                  <a:pt x="504" y="209"/>
                </a:cubicBezTo>
                <a:cubicBezTo>
                  <a:pt x="504" y="209"/>
                  <a:pt x="504" y="209"/>
                  <a:pt x="504" y="209"/>
                </a:cubicBezTo>
                <a:cubicBezTo>
                  <a:pt x="504" y="212"/>
                  <a:pt x="505" y="214"/>
                  <a:pt x="505" y="216"/>
                </a:cubicBezTo>
                <a:cubicBezTo>
                  <a:pt x="505" y="216"/>
                  <a:pt x="505" y="216"/>
                  <a:pt x="505" y="216"/>
                </a:cubicBezTo>
                <a:cubicBezTo>
                  <a:pt x="505" y="218"/>
                  <a:pt x="506" y="220"/>
                  <a:pt x="506" y="222"/>
                </a:cubicBezTo>
                <a:cubicBezTo>
                  <a:pt x="506" y="222"/>
                  <a:pt x="506" y="222"/>
                  <a:pt x="506" y="222"/>
                </a:cubicBezTo>
                <a:cubicBezTo>
                  <a:pt x="506" y="224"/>
                  <a:pt x="506" y="226"/>
                  <a:pt x="507" y="228"/>
                </a:cubicBezTo>
                <a:cubicBezTo>
                  <a:pt x="507" y="228"/>
                  <a:pt x="507" y="228"/>
                  <a:pt x="507" y="228"/>
                </a:cubicBezTo>
                <a:cubicBezTo>
                  <a:pt x="507" y="230"/>
                  <a:pt x="507" y="232"/>
                  <a:pt x="507" y="234"/>
                </a:cubicBezTo>
                <a:cubicBezTo>
                  <a:pt x="507" y="234"/>
                  <a:pt x="507" y="234"/>
                  <a:pt x="507" y="234"/>
                </a:cubicBezTo>
                <a:cubicBezTo>
                  <a:pt x="507" y="237"/>
                  <a:pt x="508" y="239"/>
                  <a:pt x="508" y="241"/>
                </a:cubicBezTo>
                <a:cubicBezTo>
                  <a:pt x="508" y="241"/>
                  <a:pt x="508" y="241"/>
                  <a:pt x="508" y="241"/>
                </a:cubicBezTo>
                <a:cubicBezTo>
                  <a:pt x="508" y="243"/>
                  <a:pt x="508" y="245"/>
                  <a:pt x="508" y="247"/>
                </a:cubicBezTo>
                <a:cubicBezTo>
                  <a:pt x="508" y="247"/>
                  <a:pt x="508" y="247"/>
                  <a:pt x="508" y="247"/>
                </a:cubicBezTo>
                <a:cubicBezTo>
                  <a:pt x="508" y="249"/>
                  <a:pt x="508" y="251"/>
                  <a:pt x="508" y="254"/>
                </a:cubicBezTo>
                <a:cubicBezTo>
                  <a:pt x="508" y="254"/>
                  <a:pt x="508" y="254"/>
                  <a:pt x="508" y="254"/>
                </a:cubicBezTo>
                <a:cubicBezTo>
                  <a:pt x="508" y="255"/>
                  <a:pt x="508" y="255"/>
                  <a:pt x="508" y="255"/>
                </a:cubicBezTo>
                <a:cubicBezTo>
                  <a:pt x="508" y="256"/>
                  <a:pt x="508" y="257"/>
                  <a:pt x="508" y="258"/>
                </a:cubicBezTo>
                <a:cubicBezTo>
                  <a:pt x="508" y="259"/>
                  <a:pt x="508" y="260"/>
                  <a:pt x="508" y="261"/>
                </a:cubicBezTo>
                <a:cubicBezTo>
                  <a:pt x="508" y="261"/>
                  <a:pt x="508" y="261"/>
                  <a:pt x="508" y="261"/>
                </a:cubicBezTo>
                <a:cubicBezTo>
                  <a:pt x="505" y="355"/>
                  <a:pt x="455" y="410"/>
                  <a:pt x="419" y="488"/>
                </a:cubicBezTo>
                <a:cubicBezTo>
                  <a:pt x="401" y="533"/>
                  <a:pt x="387" y="586"/>
                  <a:pt x="386" y="656"/>
                </a:cubicBezTo>
                <a:cubicBezTo>
                  <a:pt x="387" y="723"/>
                  <a:pt x="401" y="775"/>
                  <a:pt x="419" y="819"/>
                </a:cubicBezTo>
                <a:cubicBezTo>
                  <a:pt x="453" y="896"/>
                  <a:pt x="502" y="950"/>
                  <a:pt x="508" y="1040"/>
                </a:cubicBezTo>
                <a:cubicBezTo>
                  <a:pt x="508" y="1041"/>
                  <a:pt x="508" y="1043"/>
                  <a:pt x="508" y="1044"/>
                </a:cubicBezTo>
                <a:cubicBezTo>
                  <a:pt x="508" y="1047"/>
                  <a:pt x="508" y="1047"/>
                  <a:pt x="508" y="1047"/>
                </a:cubicBezTo>
                <a:cubicBezTo>
                  <a:pt x="508" y="1049"/>
                  <a:pt x="508" y="1052"/>
                  <a:pt x="508" y="1055"/>
                </a:cubicBezTo>
                <a:cubicBezTo>
                  <a:pt x="508" y="1055"/>
                  <a:pt x="508" y="1055"/>
                  <a:pt x="508" y="1055"/>
                </a:cubicBezTo>
                <a:cubicBezTo>
                  <a:pt x="508" y="1055"/>
                  <a:pt x="508" y="1055"/>
                  <a:pt x="508" y="1055"/>
                </a:cubicBezTo>
                <a:cubicBezTo>
                  <a:pt x="508" y="1057"/>
                  <a:pt x="508" y="1059"/>
                  <a:pt x="508" y="1061"/>
                </a:cubicBezTo>
                <a:cubicBezTo>
                  <a:pt x="508" y="1061"/>
                  <a:pt x="508" y="1061"/>
                  <a:pt x="508" y="1061"/>
                </a:cubicBezTo>
                <a:cubicBezTo>
                  <a:pt x="508" y="1063"/>
                  <a:pt x="508" y="1065"/>
                  <a:pt x="508" y="1067"/>
                </a:cubicBezTo>
                <a:cubicBezTo>
                  <a:pt x="508" y="1067"/>
                  <a:pt x="508" y="1067"/>
                  <a:pt x="508" y="1067"/>
                </a:cubicBezTo>
                <a:cubicBezTo>
                  <a:pt x="508" y="1070"/>
                  <a:pt x="507" y="1072"/>
                  <a:pt x="507" y="1074"/>
                </a:cubicBezTo>
                <a:cubicBezTo>
                  <a:pt x="507" y="1074"/>
                  <a:pt x="507" y="1074"/>
                  <a:pt x="507" y="1074"/>
                </a:cubicBezTo>
                <a:cubicBezTo>
                  <a:pt x="507" y="1076"/>
                  <a:pt x="507" y="1078"/>
                  <a:pt x="507" y="1080"/>
                </a:cubicBezTo>
                <a:cubicBezTo>
                  <a:pt x="507" y="1080"/>
                  <a:pt x="507" y="1080"/>
                  <a:pt x="507" y="1080"/>
                </a:cubicBezTo>
                <a:cubicBezTo>
                  <a:pt x="506" y="1082"/>
                  <a:pt x="506" y="1084"/>
                  <a:pt x="506" y="1086"/>
                </a:cubicBezTo>
                <a:cubicBezTo>
                  <a:pt x="506" y="1086"/>
                  <a:pt x="506" y="1086"/>
                  <a:pt x="506" y="1086"/>
                </a:cubicBezTo>
                <a:cubicBezTo>
                  <a:pt x="506" y="1089"/>
                  <a:pt x="505" y="1091"/>
                  <a:pt x="505" y="1093"/>
                </a:cubicBezTo>
                <a:cubicBezTo>
                  <a:pt x="505" y="1093"/>
                  <a:pt x="505" y="1093"/>
                  <a:pt x="505" y="1093"/>
                </a:cubicBezTo>
                <a:cubicBezTo>
                  <a:pt x="505" y="1095"/>
                  <a:pt x="504" y="1097"/>
                  <a:pt x="504" y="1099"/>
                </a:cubicBezTo>
                <a:cubicBezTo>
                  <a:pt x="504" y="1099"/>
                  <a:pt x="504" y="1099"/>
                  <a:pt x="504" y="1099"/>
                </a:cubicBezTo>
                <a:cubicBezTo>
                  <a:pt x="504" y="1101"/>
                  <a:pt x="503" y="1103"/>
                  <a:pt x="503" y="1105"/>
                </a:cubicBezTo>
                <a:cubicBezTo>
                  <a:pt x="503" y="1105"/>
                  <a:pt x="503" y="1105"/>
                  <a:pt x="503" y="1105"/>
                </a:cubicBezTo>
                <a:cubicBezTo>
                  <a:pt x="502" y="1107"/>
                  <a:pt x="502" y="1109"/>
                  <a:pt x="502" y="1111"/>
                </a:cubicBezTo>
                <a:cubicBezTo>
                  <a:pt x="502" y="1111"/>
                  <a:pt x="502" y="1111"/>
                  <a:pt x="502" y="1111"/>
                </a:cubicBezTo>
                <a:cubicBezTo>
                  <a:pt x="501" y="1113"/>
                  <a:pt x="501" y="1115"/>
                  <a:pt x="500" y="1117"/>
                </a:cubicBezTo>
                <a:cubicBezTo>
                  <a:pt x="500" y="1117"/>
                  <a:pt x="500" y="1117"/>
                  <a:pt x="500" y="1117"/>
                </a:cubicBezTo>
                <a:cubicBezTo>
                  <a:pt x="500" y="1119"/>
                  <a:pt x="499" y="1121"/>
                  <a:pt x="498" y="1123"/>
                </a:cubicBezTo>
                <a:cubicBezTo>
                  <a:pt x="498" y="1123"/>
                  <a:pt x="498" y="1123"/>
                  <a:pt x="498" y="1123"/>
                </a:cubicBezTo>
                <a:cubicBezTo>
                  <a:pt x="497" y="1127"/>
                  <a:pt x="496" y="1131"/>
                  <a:pt x="495" y="1135"/>
                </a:cubicBezTo>
                <a:cubicBezTo>
                  <a:pt x="495" y="1135"/>
                  <a:pt x="495" y="1135"/>
                  <a:pt x="495" y="1135"/>
                </a:cubicBezTo>
                <a:cubicBezTo>
                  <a:pt x="469" y="1213"/>
                  <a:pt x="406" y="1276"/>
                  <a:pt x="325" y="1299"/>
                </a:cubicBezTo>
                <a:cubicBezTo>
                  <a:pt x="325" y="1299"/>
                  <a:pt x="325" y="1299"/>
                  <a:pt x="325" y="1299"/>
                </a:cubicBezTo>
                <a:cubicBezTo>
                  <a:pt x="319" y="1301"/>
                  <a:pt x="312" y="1302"/>
                  <a:pt x="306" y="1303"/>
                </a:cubicBezTo>
                <a:cubicBezTo>
                  <a:pt x="306" y="1303"/>
                  <a:pt x="306" y="1303"/>
                  <a:pt x="306" y="1303"/>
                </a:cubicBezTo>
                <a:cubicBezTo>
                  <a:pt x="304" y="1304"/>
                  <a:pt x="302" y="1304"/>
                  <a:pt x="300" y="1305"/>
                </a:cubicBezTo>
                <a:cubicBezTo>
                  <a:pt x="300" y="1305"/>
                  <a:pt x="300" y="1305"/>
                  <a:pt x="300" y="1305"/>
                </a:cubicBezTo>
                <a:cubicBezTo>
                  <a:pt x="298" y="1305"/>
                  <a:pt x="296" y="1305"/>
                  <a:pt x="294" y="1306"/>
                </a:cubicBezTo>
                <a:cubicBezTo>
                  <a:pt x="294" y="1306"/>
                  <a:pt x="294" y="1306"/>
                  <a:pt x="294" y="1306"/>
                </a:cubicBezTo>
                <a:cubicBezTo>
                  <a:pt x="289" y="1306"/>
                  <a:pt x="285" y="1307"/>
                  <a:pt x="281" y="1307"/>
                </a:cubicBezTo>
                <a:cubicBezTo>
                  <a:pt x="281" y="1307"/>
                  <a:pt x="281" y="1307"/>
                  <a:pt x="281" y="1307"/>
                </a:cubicBezTo>
                <a:cubicBezTo>
                  <a:pt x="278" y="1308"/>
                  <a:pt x="276" y="1308"/>
                  <a:pt x="274" y="1308"/>
                </a:cubicBezTo>
                <a:cubicBezTo>
                  <a:pt x="274" y="1308"/>
                  <a:pt x="274" y="1308"/>
                  <a:pt x="274" y="1308"/>
                </a:cubicBezTo>
                <a:cubicBezTo>
                  <a:pt x="270" y="1308"/>
                  <a:pt x="265" y="1308"/>
                  <a:pt x="261" y="1309"/>
                </a:cubicBezTo>
                <a:cubicBezTo>
                  <a:pt x="261" y="1309"/>
                  <a:pt x="261" y="1309"/>
                  <a:pt x="261" y="1309"/>
                </a:cubicBezTo>
                <a:cubicBezTo>
                  <a:pt x="259" y="1309"/>
                  <a:pt x="256" y="1309"/>
                  <a:pt x="254" y="1309"/>
                </a:cubicBezTo>
                <a:cubicBezTo>
                  <a:pt x="254" y="1309"/>
                  <a:pt x="254" y="1309"/>
                  <a:pt x="254" y="1309"/>
                </a:cubicBezTo>
                <a:cubicBezTo>
                  <a:pt x="252" y="1309"/>
                  <a:pt x="250" y="1309"/>
                  <a:pt x="247" y="1309"/>
                </a:cubicBezTo>
                <a:cubicBezTo>
                  <a:pt x="247" y="1309"/>
                  <a:pt x="247" y="1309"/>
                  <a:pt x="247" y="1309"/>
                </a:cubicBezTo>
                <a:cubicBezTo>
                  <a:pt x="243" y="1308"/>
                  <a:pt x="238" y="1308"/>
                  <a:pt x="234" y="1308"/>
                </a:cubicBezTo>
                <a:cubicBezTo>
                  <a:pt x="234" y="1308"/>
                  <a:pt x="234" y="1308"/>
                  <a:pt x="234" y="1308"/>
                </a:cubicBezTo>
                <a:cubicBezTo>
                  <a:pt x="232" y="1308"/>
                  <a:pt x="230" y="1308"/>
                  <a:pt x="227" y="1307"/>
                </a:cubicBezTo>
                <a:cubicBezTo>
                  <a:pt x="227" y="1307"/>
                  <a:pt x="227" y="1307"/>
                  <a:pt x="227" y="1307"/>
                </a:cubicBezTo>
                <a:cubicBezTo>
                  <a:pt x="223" y="1307"/>
                  <a:pt x="219" y="1306"/>
                  <a:pt x="215" y="1306"/>
                </a:cubicBezTo>
                <a:cubicBezTo>
                  <a:pt x="215" y="1306"/>
                  <a:pt x="215" y="1306"/>
                  <a:pt x="215" y="1306"/>
                </a:cubicBezTo>
                <a:cubicBezTo>
                  <a:pt x="212" y="1305"/>
                  <a:pt x="210" y="1305"/>
                  <a:pt x="208" y="1305"/>
                </a:cubicBezTo>
                <a:cubicBezTo>
                  <a:pt x="208" y="1305"/>
                  <a:pt x="208" y="1305"/>
                  <a:pt x="208" y="1305"/>
                </a:cubicBezTo>
                <a:cubicBezTo>
                  <a:pt x="206" y="1304"/>
                  <a:pt x="204" y="1304"/>
                  <a:pt x="202" y="1303"/>
                </a:cubicBezTo>
                <a:cubicBezTo>
                  <a:pt x="202" y="1303"/>
                  <a:pt x="202" y="1303"/>
                  <a:pt x="202" y="1303"/>
                </a:cubicBezTo>
                <a:cubicBezTo>
                  <a:pt x="196" y="1302"/>
                  <a:pt x="189" y="1301"/>
                  <a:pt x="183" y="1299"/>
                </a:cubicBezTo>
                <a:cubicBezTo>
                  <a:pt x="183" y="1299"/>
                  <a:pt x="183" y="1299"/>
                  <a:pt x="183" y="1299"/>
                </a:cubicBezTo>
                <a:cubicBezTo>
                  <a:pt x="102" y="1276"/>
                  <a:pt x="39" y="1213"/>
                  <a:pt x="13" y="1135"/>
                </a:cubicBezTo>
                <a:cubicBezTo>
                  <a:pt x="13" y="1135"/>
                  <a:pt x="13" y="1135"/>
                  <a:pt x="13" y="1135"/>
                </a:cubicBezTo>
                <a:cubicBezTo>
                  <a:pt x="12" y="1131"/>
                  <a:pt x="11" y="1127"/>
                  <a:pt x="9" y="1123"/>
                </a:cubicBezTo>
                <a:cubicBezTo>
                  <a:pt x="9" y="1123"/>
                  <a:pt x="9" y="1123"/>
                  <a:pt x="9" y="1123"/>
                </a:cubicBezTo>
                <a:cubicBezTo>
                  <a:pt x="9" y="1121"/>
                  <a:pt x="8" y="1119"/>
                  <a:pt x="8" y="1117"/>
                </a:cubicBezTo>
                <a:cubicBezTo>
                  <a:pt x="8" y="1117"/>
                  <a:pt x="8" y="1117"/>
                  <a:pt x="8" y="1117"/>
                </a:cubicBezTo>
                <a:cubicBezTo>
                  <a:pt x="7" y="1115"/>
                  <a:pt x="7" y="1113"/>
                  <a:pt x="7" y="1111"/>
                </a:cubicBezTo>
                <a:cubicBezTo>
                  <a:pt x="7" y="1111"/>
                  <a:pt x="7" y="1111"/>
                  <a:pt x="7" y="1111"/>
                </a:cubicBezTo>
                <a:cubicBezTo>
                  <a:pt x="6" y="1109"/>
                  <a:pt x="6" y="1107"/>
                  <a:pt x="5" y="1105"/>
                </a:cubicBezTo>
                <a:cubicBezTo>
                  <a:pt x="5" y="1105"/>
                  <a:pt x="5" y="1105"/>
                  <a:pt x="5" y="1105"/>
                </a:cubicBezTo>
                <a:cubicBezTo>
                  <a:pt x="5" y="1103"/>
                  <a:pt x="4" y="1101"/>
                  <a:pt x="4" y="1099"/>
                </a:cubicBezTo>
                <a:cubicBezTo>
                  <a:pt x="4" y="1099"/>
                  <a:pt x="4" y="1099"/>
                  <a:pt x="4" y="1099"/>
                </a:cubicBezTo>
                <a:cubicBezTo>
                  <a:pt x="4" y="1097"/>
                  <a:pt x="3" y="1095"/>
                  <a:pt x="3" y="1093"/>
                </a:cubicBezTo>
                <a:cubicBezTo>
                  <a:pt x="3" y="1093"/>
                  <a:pt x="3" y="1093"/>
                  <a:pt x="3" y="1093"/>
                </a:cubicBezTo>
                <a:cubicBezTo>
                  <a:pt x="3" y="1091"/>
                  <a:pt x="2" y="1089"/>
                  <a:pt x="2" y="1086"/>
                </a:cubicBezTo>
                <a:cubicBezTo>
                  <a:pt x="2" y="1086"/>
                  <a:pt x="2" y="1086"/>
                  <a:pt x="2" y="1086"/>
                </a:cubicBezTo>
                <a:cubicBezTo>
                  <a:pt x="2" y="1084"/>
                  <a:pt x="2" y="1082"/>
                  <a:pt x="1" y="1080"/>
                </a:cubicBezTo>
                <a:cubicBezTo>
                  <a:pt x="1" y="1080"/>
                  <a:pt x="1" y="1080"/>
                  <a:pt x="1" y="1080"/>
                </a:cubicBezTo>
                <a:cubicBezTo>
                  <a:pt x="1" y="1078"/>
                  <a:pt x="1" y="1076"/>
                  <a:pt x="1" y="1074"/>
                </a:cubicBezTo>
                <a:cubicBezTo>
                  <a:pt x="1" y="1074"/>
                  <a:pt x="1" y="1074"/>
                  <a:pt x="1" y="1074"/>
                </a:cubicBezTo>
                <a:cubicBezTo>
                  <a:pt x="1" y="1072"/>
                  <a:pt x="1" y="1070"/>
                  <a:pt x="0" y="1067"/>
                </a:cubicBezTo>
                <a:cubicBezTo>
                  <a:pt x="0" y="1067"/>
                  <a:pt x="0" y="1067"/>
                  <a:pt x="0" y="1067"/>
                </a:cubicBezTo>
                <a:cubicBezTo>
                  <a:pt x="0" y="1065"/>
                  <a:pt x="0" y="1063"/>
                  <a:pt x="0" y="1061"/>
                </a:cubicBezTo>
                <a:cubicBezTo>
                  <a:pt x="0" y="1061"/>
                  <a:pt x="0" y="1061"/>
                  <a:pt x="0" y="1061"/>
                </a:cubicBezTo>
                <a:cubicBezTo>
                  <a:pt x="0" y="1059"/>
                  <a:pt x="0" y="1057"/>
                  <a:pt x="0" y="1055"/>
                </a:cubicBezTo>
                <a:cubicBezTo>
                  <a:pt x="0" y="1055"/>
                  <a:pt x="0" y="1055"/>
                  <a:pt x="0" y="1055"/>
                </a:cubicBezTo>
                <a:cubicBezTo>
                  <a:pt x="0" y="1055"/>
                  <a:pt x="0" y="1055"/>
                  <a:pt x="0" y="1055"/>
                </a:cubicBezTo>
                <a:cubicBezTo>
                  <a:pt x="0" y="1052"/>
                  <a:pt x="0" y="1049"/>
                  <a:pt x="0" y="1047"/>
                </a:cubicBezTo>
                <a:cubicBezTo>
                  <a:pt x="0" y="1046"/>
                  <a:pt x="0" y="1045"/>
                  <a:pt x="0" y="1044"/>
                </a:cubicBezTo>
                <a:cubicBezTo>
                  <a:pt x="0" y="1043"/>
                  <a:pt x="0" y="1041"/>
                  <a:pt x="1" y="1040"/>
                </a:cubicBezTo>
                <a:cubicBezTo>
                  <a:pt x="6" y="950"/>
                  <a:pt x="55" y="896"/>
                  <a:pt x="89" y="819"/>
                </a:cubicBezTo>
                <a:close/>
              </a:path>
            </a:pathLst>
          </a:custGeom>
          <a:solidFill>
            <a:schemeClr val="accent1">
              <a:lumMod val="100000"/>
            </a:schemeClr>
          </a:solidFill>
          <a:ln>
            <a:noFill/>
          </a:ln>
          <a:effectLst/>
        </p:spPr>
        <p:txBody>
          <a:bodyPr vert="horz" wrap="square" lIns="42863" tIns="21431" rIns="42863" bIns="21431" numCol="1" anchor="t" anchorCtr="0" compatLnSpc="1">
            <a:prstTxWarp prst="textNoShape">
              <a:avLst/>
            </a:prstTxWarp>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685783">
              <a:defRPr/>
            </a:pPr>
            <a:endParaRPr lang="en-US" sz="1013" b="1">
              <a:solidFill>
                <a:prstClr val="black"/>
              </a:solidFill>
              <a:latin typeface="Franklin Gothic Book" panose="020B0503020102020204"/>
            </a:endParaRPr>
          </a:p>
        </p:txBody>
      </p:sp>
      <p:sp>
        <p:nvSpPr>
          <p:cNvPr id="10" name="Shape6_20210625_204930">
            <a:extLst>
              <a:ext uri="{FF2B5EF4-FFF2-40B4-BE49-F238E27FC236}">
                <a16:creationId xmlns:a16="http://schemas.microsoft.com/office/drawing/2014/main" id="{EA262DBF-AC32-41B4-AE24-FA3C6A1379E6}"/>
              </a:ext>
            </a:extLst>
          </p:cNvPr>
          <p:cNvSpPr/>
          <p:nvPr>
            <p:custDataLst>
              <p:tags r:id="rId28"/>
            </p:custDataLst>
          </p:nvPr>
        </p:nvSpPr>
        <p:spPr>
          <a:xfrm>
            <a:off x="3042276" y="1166530"/>
            <a:ext cx="1346345" cy="1346346"/>
          </a:xfrm>
          <a:custGeom>
            <a:avLst/>
            <a:gdLst>
              <a:gd name="T0" fmla="*/ 547 w 1095"/>
              <a:gd name="T1" fmla="*/ 781 h 1094"/>
              <a:gd name="T2" fmla="*/ 449 w 1095"/>
              <a:gd name="T3" fmla="*/ 1004 h 1094"/>
              <a:gd name="T4" fmla="*/ 444 w 1095"/>
              <a:gd name="T5" fmla="*/ 1010 h 1094"/>
              <a:gd name="T6" fmla="*/ 434 w 1095"/>
              <a:gd name="T7" fmla="*/ 1019 h 1094"/>
              <a:gd name="T8" fmla="*/ 430 w 1095"/>
              <a:gd name="T9" fmla="*/ 1023 h 1094"/>
              <a:gd name="T10" fmla="*/ 420 w 1095"/>
              <a:gd name="T11" fmla="*/ 1031 h 1094"/>
              <a:gd name="T12" fmla="*/ 415 w 1095"/>
              <a:gd name="T13" fmla="*/ 1035 h 1094"/>
              <a:gd name="T14" fmla="*/ 405 w 1095"/>
              <a:gd name="T15" fmla="*/ 1042 h 1094"/>
              <a:gd name="T16" fmla="*/ 399 w 1095"/>
              <a:gd name="T17" fmla="*/ 1045 h 1094"/>
              <a:gd name="T18" fmla="*/ 389 w 1095"/>
              <a:gd name="T19" fmla="*/ 1051 h 1094"/>
              <a:gd name="T20" fmla="*/ 378 w 1095"/>
              <a:gd name="T21" fmla="*/ 1057 h 1094"/>
              <a:gd name="T22" fmla="*/ 125 w 1095"/>
              <a:gd name="T23" fmla="*/ 1043 h 1094"/>
              <a:gd name="T24" fmla="*/ 120 w 1095"/>
              <a:gd name="T25" fmla="*/ 1039 h 1094"/>
              <a:gd name="T26" fmla="*/ 104 w 1095"/>
              <a:gd name="T27" fmla="*/ 1027 h 1094"/>
              <a:gd name="T28" fmla="*/ 99 w 1095"/>
              <a:gd name="T29" fmla="*/ 1023 h 1094"/>
              <a:gd name="T30" fmla="*/ 85 w 1095"/>
              <a:gd name="T31" fmla="*/ 1010 h 1094"/>
              <a:gd name="T32" fmla="*/ 80 w 1095"/>
              <a:gd name="T33" fmla="*/ 1005 h 1094"/>
              <a:gd name="T34" fmla="*/ 67 w 1095"/>
              <a:gd name="T35" fmla="*/ 990 h 1094"/>
              <a:gd name="T36" fmla="*/ 59 w 1095"/>
              <a:gd name="T37" fmla="*/ 980 h 1094"/>
              <a:gd name="T38" fmla="*/ 52 w 1095"/>
              <a:gd name="T39" fmla="*/ 969 h 1094"/>
              <a:gd name="T40" fmla="*/ 42 w 1095"/>
              <a:gd name="T41" fmla="*/ 953 h 1094"/>
              <a:gd name="T42" fmla="*/ 43 w 1095"/>
              <a:gd name="T43" fmla="*/ 706 h 1094"/>
              <a:gd name="T44" fmla="*/ 46 w 1095"/>
              <a:gd name="T45" fmla="*/ 700 h 1094"/>
              <a:gd name="T46" fmla="*/ 53 w 1095"/>
              <a:gd name="T47" fmla="*/ 690 h 1094"/>
              <a:gd name="T48" fmla="*/ 56 w 1095"/>
              <a:gd name="T49" fmla="*/ 685 h 1094"/>
              <a:gd name="T50" fmla="*/ 64 w 1095"/>
              <a:gd name="T51" fmla="*/ 675 h 1094"/>
              <a:gd name="T52" fmla="*/ 68 w 1095"/>
              <a:gd name="T53" fmla="*/ 670 h 1094"/>
              <a:gd name="T54" fmla="*/ 76 w 1095"/>
              <a:gd name="T55" fmla="*/ 660 h 1094"/>
              <a:gd name="T56" fmla="*/ 80 w 1095"/>
              <a:gd name="T57" fmla="*/ 655 h 1094"/>
              <a:gd name="T58" fmla="*/ 86 w 1095"/>
              <a:gd name="T59" fmla="*/ 650 h 1094"/>
              <a:gd name="T60" fmla="*/ 90 w 1095"/>
              <a:gd name="T61" fmla="*/ 646 h 1094"/>
              <a:gd name="T62" fmla="*/ 547 w 1095"/>
              <a:gd name="T63" fmla="*/ 314 h 1094"/>
              <a:gd name="T64" fmla="*/ 645 w 1095"/>
              <a:gd name="T65" fmla="*/ 90 h 1094"/>
              <a:gd name="T66" fmla="*/ 651 w 1095"/>
              <a:gd name="T67" fmla="*/ 84 h 1094"/>
              <a:gd name="T68" fmla="*/ 660 w 1095"/>
              <a:gd name="T69" fmla="*/ 75 h 1094"/>
              <a:gd name="T70" fmla="*/ 665 w 1095"/>
              <a:gd name="T71" fmla="*/ 71 h 1094"/>
              <a:gd name="T72" fmla="*/ 675 w 1095"/>
              <a:gd name="T73" fmla="*/ 63 h 1094"/>
              <a:gd name="T74" fmla="*/ 680 w 1095"/>
              <a:gd name="T75" fmla="*/ 59 h 1094"/>
              <a:gd name="T76" fmla="*/ 690 w 1095"/>
              <a:gd name="T77" fmla="*/ 52 h 1094"/>
              <a:gd name="T78" fmla="*/ 695 w 1095"/>
              <a:gd name="T79" fmla="*/ 49 h 1094"/>
              <a:gd name="T80" fmla="*/ 706 w 1095"/>
              <a:gd name="T81" fmla="*/ 42 h 1094"/>
              <a:gd name="T82" fmla="*/ 717 w 1095"/>
              <a:gd name="T83" fmla="*/ 37 h 1094"/>
              <a:gd name="T84" fmla="*/ 970 w 1095"/>
              <a:gd name="T85" fmla="*/ 51 h 1094"/>
              <a:gd name="T86" fmla="*/ 975 w 1095"/>
              <a:gd name="T87" fmla="*/ 55 h 1094"/>
              <a:gd name="T88" fmla="*/ 990 w 1095"/>
              <a:gd name="T89" fmla="*/ 66 h 1094"/>
              <a:gd name="T90" fmla="*/ 995 w 1095"/>
              <a:gd name="T91" fmla="*/ 71 h 1094"/>
              <a:gd name="T92" fmla="*/ 1010 w 1095"/>
              <a:gd name="T93" fmla="*/ 84 h 1094"/>
              <a:gd name="T94" fmla="*/ 1015 w 1095"/>
              <a:gd name="T95" fmla="*/ 89 h 1094"/>
              <a:gd name="T96" fmla="*/ 1028 w 1095"/>
              <a:gd name="T97" fmla="*/ 104 h 1094"/>
              <a:gd name="T98" fmla="*/ 1036 w 1095"/>
              <a:gd name="T99" fmla="*/ 114 h 1094"/>
              <a:gd name="T100" fmla="*/ 1043 w 1095"/>
              <a:gd name="T101" fmla="*/ 125 h 1094"/>
              <a:gd name="T102" fmla="*/ 1053 w 1095"/>
              <a:gd name="T103" fmla="*/ 141 h 1094"/>
              <a:gd name="T104" fmla="*/ 1052 w 1095"/>
              <a:gd name="T105" fmla="*/ 388 h 1094"/>
              <a:gd name="T106" fmla="*/ 1049 w 1095"/>
              <a:gd name="T107" fmla="*/ 393 h 1094"/>
              <a:gd name="T108" fmla="*/ 1042 w 1095"/>
              <a:gd name="T109" fmla="*/ 404 h 1094"/>
              <a:gd name="T110" fmla="*/ 1039 w 1095"/>
              <a:gd name="T111" fmla="*/ 409 h 1094"/>
              <a:gd name="T112" fmla="*/ 1031 w 1095"/>
              <a:gd name="T113" fmla="*/ 419 h 1094"/>
              <a:gd name="T114" fmla="*/ 1027 w 1095"/>
              <a:gd name="T115" fmla="*/ 424 h 1094"/>
              <a:gd name="T116" fmla="*/ 1019 w 1095"/>
              <a:gd name="T117" fmla="*/ 434 h 1094"/>
              <a:gd name="T118" fmla="*/ 1015 w 1095"/>
              <a:gd name="T119" fmla="*/ 439 h 1094"/>
              <a:gd name="T120" fmla="*/ 1010 w 1095"/>
              <a:gd name="T121" fmla="*/ 443 h 1094"/>
              <a:gd name="T122" fmla="*/ 999 w 1095"/>
              <a:gd name="T123" fmla="*/ 454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95" h="1094">
                <a:moveTo>
                  <a:pt x="780" y="547"/>
                </a:moveTo>
                <a:cubicBezTo>
                  <a:pt x="737" y="565"/>
                  <a:pt x="691" y="592"/>
                  <a:pt x="642" y="639"/>
                </a:cubicBezTo>
                <a:cubicBezTo>
                  <a:pt x="593" y="689"/>
                  <a:pt x="566" y="736"/>
                  <a:pt x="547" y="781"/>
                </a:cubicBezTo>
                <a:cubicBezTo>
                  <a:pt x="518" y="860"/>
                  <a:pt x="514" y="932"/>
                  <a:pt x="454" y="999"/>
                </a:cubicBezTo>
                <a:cubicBezTo>
                  <a:pt x="453" y="1000"/>
                  <a:pt x="452" y="1001"/>
                  <a:pt x="451" y="1002"/>
                </a:cubicBezTo>
                <a:cubicBezTo>
                  <a:pt x="449" y="1004"/>
                  <a:pt x="449" y="1004"/>
                  <a:pt x="449" y="1004"/>
                </a:cubicBezTo>
                <a:cubicBezTo>
                  <a:pt x="448" y="1006"/>
                  <a:pt x="446" y="1008"/>
                  <a:pt x="444" y="1010"/>
                </a:cubicBezTo>
                <a:cubicBezTo>
                  <a:pt x="444" y="1010"/>
                  <a:pt x="444" y="1010"/>
                  <a:pt x="444" y="1010"/>
                </a:cubicBezTo>
                <a:cubicBezTo>
                  <a:pt x="444" y="1010"/>
                  <a:pt x="444" y="1010"/>
                  <a:pt x="444" y="1010"/>
                </a:cubicBezTo>
                <a:cubicBezTo>
                  <a:pt x="442" y="1011"/>
                  <a:pt x="441" y="1013"/>
                  <a:pt x="439" y="1014"/>
                </a:cubicBezTo>
                <a:cubicBezTo>
                  <a:pt x="439" y="1014"/>
                  <a:pt x="439" y="1014"/>
                  <a:pt x="439" y="1014"/>
                </a:cubicBezTo>
                <a:cubicBezTo>
                  <a:pt x="437" y="1016"/>
                  <a:pt x="436" y="1017"/>
                  <a:pt x="434" y="1019"/>
                </a:cubicBezTo>
                <a:cubicBezTo>
                  <a:pt x="434" y="1019"/>
                  <a:pt x="434" y="1019"/>
                  <a:pt x="434" y="1019"/>
                </a:cubicBezTo>
                <a:cubicBezTo>
                  <a:pt x="433" y="1020"/>
                  <a:pt x="431" y="1021"/>
                  <a:pt x="430" y="1023"/>
                </a:cubicBezTo>
                <a:cubicBezTo>
                  <a:pt x="430" y="1023"/>
                  <a:pt x="430" y="1023"/>
                  <a:pt x="430" y="1023"/>
                </a:cubicBezTo>
                <a:cubicBezTo>
                  <a:pt x="428" y="1024"/>
                  <a:pt x="426" y="1026"/>
                  <a:pt x="425" y="1027"/>
                </a:cubicBezTo>
                <a:cubicBezTo>
                  <a:pt x="425" y="1027"/>
                  <a:pt x="425" y="1027"/>
                  <a:pt x="425" y="1027"/>
                </a:cubicBezTo>
                <a:cubicBezTo>
                  <a:pt x="423" y="1028"/>
                  <a:pt x="421" y="1029"/>
                  <a:pt x="420" y="1031"/>
                </a:cubicBezTo>
                <a:cubicBezTo>
                  <a:pt x="420" y="1031"/>
                  <a:pt x="420" y="1031"/>
                  <a:pt x="420" y="1031"/>
                </a:cubicBezTo>
                <a:cubicBezTo>
                  <a:pt x="418" y="1032"/>
                  <a:pt x="416" y="1033"/>
                  <a:pt x="415" y="1035"/>
                </a:cubicBezTo>
                <a:cubicBezTo>
                  <a:pt x="415" y="1035"/>
                  <a:pt x="415" y="1035"/>
                  <a:pt x="415" y="1035"/>
                </a:cubicBezTo>
                <a:cubicBezTo>
                  <a:pt x="413" y="1036"/>
                  <a:pt x="411" y="1037"/>
                  <a:pt x="410" y="1038"/>
                </a:cubicBezTo>
                <a:cubicBezTo>
                  <a:pt x="410" y="1038"/>
                  <a:pt x="410" y="1038"/>
                  <a:pt x="410" y="1038"/>
                </a:cubicBezTo>
                <a:cubicBezTo>
                  <a:pt x="408" y="1039"/>
                  <a:pt x="406" y="1041"/>
                  <a:pt x="405" y="1042"/>
                </a:cubicBezTo>
                <a:cubicBezTo>
                  <a:pt x="405" y="1042"/>
                  <a:pt x="405" y="1042"/>
                  <a:pt x="405" y="1042"/>
                </a:cubicBezTo>
                <a:cubicBezTo>
                  <a:pt x="403" y="1043"/>
                  <a:pt x="401" y="1044"/>
                  <a:pt x="399" y="1045"/>
                </a:cubicBezTo>
                <a:cubicBezTo>
                  <a:pt x="399" y="1045"/>
                  <a:pt x="399" y="1045"/>
                  <a:pt x="399" y="1045"/>
                </a:cubicBezTo>
                <a:cubicBezTo>
                  <a:pt x="398" y="1046"/>
                  <a:pt x="396" y="1047"/>
                  <a:pt x="394" y="1048"/>
                </a:cubicBezTo>
                <a:cubicBezTo>
                  <a:pt x="394" y="1048"/>
                  <a:pt x="394" y="1048"/>
                  <a:pt x="394" y="1048"/>
                </a:cubicBezTo>
                <a:cubicBezTo>
                  <a:pt x="392" y="1049"/>
                  <a:pt x="390" y="1050"/>
                  <a:pt x="389" y="1051"/>
                </a:cubicBezTo>
                <a:cubicBezTo>
                  <a:pt x="389" y="1051"/>
                  <a:pt x="389" y="1051"/>
                  <a:pt x="389" y="1051"/>
                </a:cubicBezTo>
                <a:cubicBezTo>
                  <a:pt x="385" y="1054"/>
                  <a:pt x="381" y="1055"/>
                  <a:pt x="378" y="1057"/>
                </a:cubicBezTo>
                <a:cubicBezTo>
                  <a:pt x="378" y="1057"/>
                  <a:pt x="378" y="1057"/>
                  <a:pt x="378" y="1057"/>
                </a:cubicBezTo>
                <a:cubicBezTo>
                  <a:pt x="304" y="1094"/>
                  <a:pt x="216" y="1094"/>
                  <a:pt x="142" y="1053"/>
                </a:cubicBezTo>
                <a:cubicBezTo>
                  <a:pt x="142" y="1053"/>
                  <a:pt x="142" y="1053"/>
                  <a:pt x="142" y="1053"/>
                </a:cubicBezTo>
                <a:cubicBezTo>
                  <a:pt x="136" y="1050"/>
                  <a:pt x="131" y="1046"/>
                  <a:pt x="125" y="1043"/>
                </a:cubicBezTo>
                <a:cubicBezTo>
                  <a:pt x="125" y="1043"/>
                  <a:pt x="125" y="1043"/>
                  <a:pt x="125" y="1043"/>
                </a:cubicBezTo>
                <a:cubicBezTo>
                  <a:pt x="124" y="1042"/>
                  <a:pt x="122" y="1040"/>
                  <a:pt x="120" y="1039"/>
                </a:cubicBezTo>
                <a:cubicBezTo>
                  <a:pt x="120" y="1039"/>
                  <a:pt x="120" y="1039"/>
                  <a:pt x="120" y="1039"/>
                </a:cubicBezTo>
                <a:cubicBezTo>
                  <a:pt x="118" y="1038"/>
                  <a:pt x="116" y="1037"/>
                  <a:pt x="115" y="1035"/>
                </a:cubicBezTo>
                <a:cubicBezTo>
                  <a:pt x="115" y="1035"/>
                  <a:pt x="115" y="1035"/>
                  <a:pt x="115" y="1035"/>
                </a:cubicBezTo>
                <a:cubicBezTo>
                  <a:pt x="111" y="1033"/>
                  <a:pt x="108" y="1030"/>
                  <a:pt x="104" y="1027"/>
                </a:cubicBezTo>
                <a:cubicBezTo>
                  <a:pt x="104" y="1027"/>
                  <a:pt x="104" y="1027"/>
                  <a:pt x="104" y="1027"/>
                </a:cubicBezTo>
                <a:cubicBezTo>
                  <a:pt x="103" y="1026"/>
                  <a:pt x="101" y="1025"/>
                  <a:pt x="99" y="1023"/>
                </a:cubicBezTo>
                <a:cubicBezTo>
                  <a:pt x="99" y="1023"/>
                  <a:pt x="99" y="1023"/>
                  <a:pt x="99" y="1023"/>
                </a:cubicBezTo>
                <a:cubicBezTo>
                  <a:pt x="96" y="1020"/>
                  <a:pt x="93" y="1017"/>
                  <a:pt x="89" y="1014"/>
                </a:cubicBezTo>
                <a:cubicBezTo>
                  <a:pt x="89" y="1014"/>
                  <a:pt x="89" y="1014"/>
                  <a:pt x="89" y="1014"/>
                </a:cubicBezTo>
                <a:cubicBezTo>
                  <a:pt x="88" y="1013"/>
                  <a:pt x="86" y="1011"/>
                  <a:pt x="85" y="1010"/>
                </a:cubicBezTo>
                <a:cubicBezTo>
                  <a:pt x="85" y="1010"/>
                  <a:pt x="85" y="1010"/>
                  <a:pt x="85" y="1010"/>
                </a:cubicBezTo>
                <a:cubicBezTo>
                  <a:pt x="83" y="1008"/>
                  <a:pt x="81" y="1006"/>
                  <a:pt x="80" y="1005"/>
                </a:cubicBezTo>
                <a:cubicBezTo>
                  <a:pt x="80" y="1005"/>
                  <a:pt x="80" y="1005"/>
                  <a:pt x="80" y="1005"/>
                </a:cubicBezTo>
                <a:cubicBezTo>
                  <a:pt x="77" y="1002"/>
                  <a:pt x="74" y="998"/>
                  <a:pt x="71" y="995"/>
                </a:cubicBezTo>
                <a:cubicBezTo>
                  <a:pt x="71" y="995"/>
                  <a:pt x="71" y="995"/>
                  <a:pt x="71" y="995"/>
                </a:cubicBezTo>
                <a:cubicBezTo>
                  <a:pt x="70" y="993"/>
                  <a:pt x="68" y="992"/>
                  <a:pt x="67" y="990"/>
                </a:cubicBezTo>
                <a:cubicBezTo>
                  <a:pt x="67" y="990"/>
                  <a:pt x="67" y="990"/>
                  <a:pt x="67" y="990"/>
                </a:cubicBezTo>
                <a:cubicBezTo>
                  <a:pt x="64" y="987"/>
                  <a:pt x="61" y="983"/>
                  <a:pt x="59" y="980"/>
                </a:cubicBezTo>
                <a:cubicBezTo>
                  <a:pt x="59" y="980"/>
                  <a:pt x="59" y="980"/>
                  <a:pt x="59" y="980"/>
                </a:cubicBezTo>
                <a:cubicBezTo>
                  <a:pt x="58" y="978"/>
                  <a:pt x="56" y="976"/>
                  <a:pt x="55" y="974"/>
                </a:cubicBezTo>
                <a:cubicBezTo>
                  <a:pt x="55" y="974"/>
                  <a:pt x="55" y="974"/>
                  <a:pt x="55" y="974"/>
                </a:cubicBezTo>
                <a:cubicBezTo>
                  <a:pt x="54" y="973"/>
                  <a:pt x="53" y="971"/>
                  <a:pt x="52" y="969"/>
                </a:cubicBezTo>
                <a:cubicBezTo>
                  <a:pt x="52" y="969"/>
                  <a:pt x="52" y="969"/>
                  <a:pt x="52" y="969"/>
                </a:cubicBezTo>
                <a:cubicBezTo>
                  <a:pt x="48" y="964"/>
                  <a:pt x="45" y="958"/>
                  <a:pt x="42" y="953"/>
                </a:cubicBezTo>
                <a:cubicBezTo>
                  <a:pt x="42" y="953"/>
                  <a:pt x="42" y="953"/>
                  <a:pt x="42" y="953"/>
                </a:cubicBezTo>
                <a:cubicBezTo>
                  <a:pt x="1" y="879"/>
                  <a:pt x="0" y="790"/>
                  <a:pt x="37" y="717"/>
                </a:cubicBezTo>
                <a:cubicBezTo>
                  <a:pt x="37" y="717"/>
                  <a:pt x="37" y="717"/>
                  <a:pt x="37" y="717"/>
                </a:cubicBezTo>
                <a:cubicBezTo>
                  <a:pt x="39" y="713"/>
                  <a:pt x="41" y="709"/>
                  <a:pt x="43" y="706"/>
                </a:cubicBezTo>
                <a:cubicBezTo>
                  <a:pt x="43" y="706"/>
                  <a:pt x="43" y="706"/>
                  <a:pt x="43" y="706"/>
                </a:cubicBezTo>
                <a:cubicBezTo>
                  <a:pt x="44" y="704"/>
                  <a:pt x="45" y="702"/>
                  <a:pt x="46" y="700"/>
                </a:cubicBezTo>
                <a:cubicBezTo>
                  <a:pt x="46" y="700"/>
                  <a:pt x="46" y="700"/>
                  <a:pt x="46" y="700"/>
                </a:cubicBezTo>
                <a:cubicBezTo>
                  <a:pt x="47" y="699"/>
                  <a:pt x="48" y="697"/>
                  <a:pt x="49" y="695"/>
                </a:cubicBezTo>
                <a:cubicBezTo>
                  <a:pt x="49" y="695"/>
                  <a:pt x="49" y="695"/>
                  <a:pt x="49" y="695"/>
                </a:cubicBezTo>
                <a:cubicBezTo>
                  <a:pt x="50" y="693"/>
                  <a:pt x="51" y="691"/>
                  <a:pt x="53" y="690"/>
                </a:cubicBezTo>
                <a:cubicBezTo>
                  <a:pt x="53" y="690"/>
                  <a:pt x="53" y="690"/>
                  <a:pt x="53" y="690"/>
                </a:cubicBezTo>
                <a:cubicBezTo>
                  <a:pt x="54" y="688"/>
                  <a:pt x="55" y="686"/>
                  <a:pt x="56" y="685"/>
                </a:cubicBezTo>
                <a:cubicBezTo>
                  <a:pt x="56" y="685"/>
                  <a:pt x="56" y="685"/>
                  <a:pt x="56" y="685"/>
                </a:cubicBezTo>
                <a:cubicBezTo>
                  <a:pt x="57" y="683"/>
                  <a:pt x="59" y="681"/>
                  <a:pt x="60" y="679"/>
                </a:cubicBezTo>
                <a:cubicBezTo>
                  <a:pt x="60" y="679"/>
                  <a:pt x="60" y="679"/>
                  <a:pt x="60" y="679"/>
                </a:cubicBezTo>
                <a:cubicBezTo>
                  <a:pt x="61" y="678"/>
                  <a:pt x="62" y="676"/>
                  <a:pt x="64" y="675"/>
                </a:cubicBezTo>
                <a:cubicBezTo>
                  <a:pt x="64" y="675"/>
                  <a:pt x="64" y="675"/>
                  <a:pt x="64" y="675"/>
                </a:cubicBezTo>
                <a:cubicBezTo>
                  <a:pt x="65" y="673"/>
                  <a:pt x="66" y="671"/>
                  <a:pt x="68" y="670"/>
                </a:cubicBezTo>
                <a:cubicBezTo>
                  <a:pt x="68" y="670"/>
                  <a:pt x="68" y="670"/>
                  <a:pt x="68" y="670"/>
                </a:cubicBezTo>
                <a:cubicBezTo>
                  <a:pt x="69" y="668"/>
                  <a:pt x="70" y="666"/>
                  <a:pt x="72" y="665"/>
                </a:cubicBezTo>
                <a:cubicBezTo>
                  <a:pt x="72" y="665"/>
                  <a:pt x="72" y="665"/>
                  <a:pt x="72" y="665"/>
                </a:cubicBezTo>
                <a:cubicBezTo>
                  <a:pt x="73" y="663"/>
                  <a:pt x="74" y="662"/>
                  <a:pt x="76" y="660"/>
                </a:cubicBezTo>
                <a:cubicBezTo>
                  <a:pt x="76" y="660"/>
                  <a:pt x="76" y="660"/>
                  <a:pt x="76" y="660"/>
                </a:cubicBezTo>
                <a:cubicBezTo>
                  <a:pt x="77" y="658"/>
                  <a:pt x="79" y="657"/>
                  <a:pt x="80" y="655"/>
                </a:cubicBezTo>
                <a:cubicBezTo>
                  <a:pt x="80" y="655"/>
                  <a:pt x="80" y="655"/>
                  <a:pt x="80" y="655"/>
                </a:cubicBezTo>
                <a:cubicBezTo>
                  <a:pt x="82" y="654"/>
                  <a:pt x="83" y="652"/>
                  <a:pt x="85" y="651"/>
                </a:cubicBezTo>
                <a:cubicBezTo>
                  <a:pt x="85" y="651"/>
                  <a:pt x="85" y="651"/>
                  <a:pt x="85" y="651"/>
                </a:cubicBezTo>
                <a:cubicBezTo>
                  <a:pt x="86" y="650"/>
                  <a:pt x="86" y="650"/>
                  <a:pt x="86" y="650"/>
                </a:cubicBezTo>
                <a:cubicBezTo>
                  <a:pt x="86" y="649"/>
                  <a:pt x="87" y="648"/>
                  <a:pt x="87" y="648"/>
                </a:cubicBezTo>
                <a:cubicBezTo>
                  <a:pt x="88" y="647"/>
                  <a:pt x="89" y="646"/>
                  <a:pt x="90" y="646"/>
                </a:cubicBezTo>
                <a:cubicBezTo>
                  <a:pt x="90" y="646"/>
                  <a:pt x="90" y="646"/>
                  <a:pt x="90" y="646"/>
                </a:cubicBezTo>
                <a:cubicBezTo>
                  <a:pt x="158" y="581"/>
                  <a:pt x="233" y="578"/>
                  <a:pt x="313" y="547"/>
                </a:cubicBezTo>
                <a:cubicBezTo>
                  <a:pt x="358" y="529"/>
                  <a:pt x="405" y="502"/>
                  <a:pt x="455" y="453"/>
                </a:cubicBezTo>
                <a:cubicBezTo>
                  <a:pt x="502" y="404"/>
                  <a:pt x="529" y="358"/>
                  <a:pt x="547" y="314"/>
                </a:cubicBezTo>
                <a:cubicBezTo>
                  <a:pt x="577" y="235"/>
                  <a:pt x="581" y="162"/>
                  <a:pt x="641" y="95"/>
                </a:cubicBezTo>
                <a:cubicBezTo>
                  <a:pt x="642" y="94"/>
                  <a:pt x="643" y="93"/>
                  <a:pt x="644" y="92"/>
                </a:cubicBezTo>
                <a:cubicBezTo>
                  <a:pt x="645" y="90"/>
                  <a:pt x="645" y="90"/>
                  <a:pt x="645" y="90"/>
                </a:cubicBezTo>
                <a:cubicBezTo>
                  <a:pt x="647" y="88"/>
                  <a:pt x="649" y="86"/>
                  <a:pt x="651" y="84"/>
                </a:cubicBezTo>
                <a:cubicBezTo>
                  <a:pt x="651" y="84"/>
                  <a:pt x="651" y="84"/>
                  <a:pt x="651" y="84"/>
                </a:cubicBezTo>
                <a:cubicBezTo>
                  <a:pt x="651" y="84"/>
                  <a:pt x="651" y="84"/>
                  <a:pt x="651" y="84"/>
                </a:cubicBezTo>
                <a:cubicBezTo>
                  <a:pt x="653" y="83"/>
                  <a:pt x="654" y="81"/>
                  <a:pt x="656" y="80"/>
                </a:cubicBezTo>
                <a:cubicBezTo>
                  <a:pt x="656" y="80"/>
                  <a:pt x="656" y="80"/>
                  <a:pt x="656" y="80"/>
                </a:cubicBezTo>
                <a:cubicBezTo>
                  <a:pt x="657" y="78"/>
                  <a:pt x="659" y="77"/>
                  <a:pt x="660" y="75"/>
                </a:cubicBezTo>
                <a:cubicBezTo>
                  <a:pt x="660" y="75"/>
                  <a:pt x="660" y="75"/>
                  <a:pt x="660" y="75"/>
                </a:cubicBezTo>
                <a:cubicBezTo>
                  <a:pt x="662" y="74"/>
                  <a:pt x="664" y="73"/>
                  <a:pt x="665" y="71"/>
                </a:cubicBezTo>
                <a:cubicBezTo>
                  <a:pt x="665" y="71"/>
                  <a:pt x="665" y="71"/>
                  <a:pt x="665" y="71"/>
                </a:cubicBezTo>
                <a:cubicBezTo>
                  <a:pt x="667" y="70"/>
                  <a:pt x="668" y="68"/>
                  <a:pt x="670" y="67"/>
                </a:cubicBezTo>
                <a:cubicBezTo>
                  <a:pt x="670" y="67"/>
                  <a:pt x="670" y="67"/>
                  <a:pt x="670" y="67"/>
                </a:cubicBezTo>
                <a:cubicBezTo>
                  <a:pt x="672" y="66"/>
                  <a:pt x="673" y="64"/>
                  <a:pt x="675" y="63"/>
                </a:cubicBezTo>
                <a:cubicBezTo>
                  <a:pt x="675" y="63"/>
                  <a:pt x="675" y="63"/>
                  <a:pt x="675" y="63"/>
                </a:cubicBezTo>
                <a:cubicBezTo>
                  <a:pt x="677" y="62"/>
                  <a:pt x="678" y="61"/>
                  <a:pt x="680" y="59"/>
                </a:cubicBezTo>
                <a:cubicBezTo>
                  <a:pt x="680" y="59"/>
                  <a:pt x="680" y="59"/>
                  <a:pt x="680" y="59"/>
                </a:cubicBezTo>
                <a:cubicBezTo>
                  <a:pt x="682" y="58"/>
                  <a:pt x="683" y="57"/>
                  <a:pt x="685" y="56"/>
                </a:cubicBezTo>
                <a:cubicBezTo>
                  <a:pt x="685" y="56"/>
                  <a:pt x="685" y="56"/>
                  <a:pt x="685" y="56"/>
                </a:cubicBezTo>
                <a:cubicBezTo>
                  <a:pt x="687" y="55"/>
                  <a:pt x="689" y="53"/>
                  <a:pt x="690" y="52"/>
                </a:cubicBezTo>
                <a:cubicBezTo>
                  <a:pt x="690" y="52"/>
                  <a:pt x="690" y="52"/>
                  <a:pt x="690" y="52"/>
                </a:cubicBezTo>
                <a:cubicBezTo>
                  <a:pt x="692" y="51"/>
                  <a:pt x="694" y="50"/>
                  <a:pt x="695" y="49"/>
                </a:cubicBezTo>
                <a:cubicBezTo>
                  <a:pt x="695" y="49"/>
                  <a:pt x="695" y="49"/>
                  <a:pt x="695" y="49"/>
                </a:cubicBezTo>
                <a:cubicBezTo>
                  <a:pt x="697" y="48"/>
                  <a:pt x="699" y="47"/>
                  <a:pt x="701" y="45"/>
                </a:cubicBezTo>
                <a:cubicBezTo>
                  <a:pt x="701" y="45"/>
                  <a:pt x="701" y="45"/>
                  <a:pt x="701" y="45"/>
                </a:cubicBezTo>
                <a:cubicBezTo>
                  <a:pt x="703" y="44"/>
                  <a:pt x="704" y="43"/>
                  <a:pt x="706" y="42"/>
                </a:cubicBezTo>
                <a:cubicBezTo>
                  <a:pt x="706" y="42"/>
                  <a:pt x="706" y="42"/>
                  <a:pt x="706" y="42"/>
                </a:cubicBezTo>
                <a:cubicBezTo>
                  <a:pt x="710" y="40"/>
                  <a:pt x="713" y="38"/>
                  <a:pt x="717" y="37"/>
                </a:cubicBezTo>
                <a:cubicBezTo>
                  <a:pt x="717" y="37"/>
                  <a:pt x="717" y="37"/>
                  <a:pt x="717" y="37"/>
                </a:cubicBezTo>
                <a:cubicBezTo>
                  <a:pt x="791" y="0"/>
                  <a:pt x="879" y="0"/>
                  <a:pt x="953" y="41"/>
                </a:cubicBezTo>
                <a:cubicBezTo>
                  <a:pt x="953" y="41"/>
                  <a:pt x="953" y="41"/>
                  <a:pt x="953" y="41"/>
                </a:cubicBezTo>
                <a:cubicBezTo>
                  <a:pt x="959" y="44"/>
                  <a:pt x="964" y="48"/>
                  <a:pt x="970" y="51"/>
                </a:cubicBezTo>
                <a:cubicBezTo>
                  <a:pt x="970" y="51"/>
                  <a:pt x="970" y="51"/>
                  <a:pt x="970" y="51"/>
                </a:cubicBezTo>
                <a:cubicBezTo>
                  <a:pt x="971" y="52"/>
                  <a:pt x="973" y="53"/>
                  <a:pt x="975" y="55"/>
                </a:cubicBezTo>
                <a:cubicBezTo>
                  <a:pt x="975" y="55"/>
                  <a:pt x="975" y="55"/>
                  <a:pt x="975" y="55"/>
                </a:cubicBezTo>
                <a:cubicBezTo>
                  <a:pt x="977" y="56"/>
                  <a:pt x="978" y="57"/>
                  <a:pt x="980" y="58"/>
                </a:cubicBezTo>
                <a:cubicBezTo>
                  <a:pt x="980" y="58"/>
                  <a:pt x="980" y="58"/>
                  <a:pt x="980" y="58"/>
                </a:cubicBezTo>
                <a:cubicBezTo>
                  <a:pt x="984" y="61"/>
                  <a:pt x="987" y="64"/>
                  <a:pt x="990" y="66"/>
                </a:cubicBezTo>
                <a:cubicBezTo>
                  <a:pt x="990" y="66"/>
                  <a:pt x="990" y="66"/>
                  <a:pt x="990" y="66"/>
                </a:cubicBezTo>
                <a:cubicBezTo>
                  <a:pt x="992" y="68"/>
                  <a:pt x="994" y="69"/>
                  <a:pt x="995" y="71"/>
                </a:cubicBezTo>
                <a:cubicBezTo>
                  <a:pt x="995" y="71"/>
                  <a:pt x="995" y="71"/>
                  <a:pt x="995" y="71"/>
                </a:cubicBezTo>
                <a:cubicBezTo>
                  <a:pt x="999" y="73"/>
                  <a:pt x="1002" y="76"/>
                  <a:pt x="1005" y="80"/>
                </a:cubicBezTo>
                <a:cubicBezTo>
                  <a:pt x="1005" y="80"/>
                  <a:pt x="1005" y="80"/>
                  <a:pt x="1005" y="80"/>
                </a:cubicBezTo>
                <a:cubicBezTo>
                  <a:pt x="1007" y="81"/>
                  <a:pt x="1009" y="83"/>
                  <a:pt x="1010" y="84"/>
                </a:cubicBezTo>
                <a:cubicBezTo>
                  <a:pt x="1010" y="84"/>
                  <a:pt x="1010" y="84"/>
                  <a:pt x="1010" y="84"/>
                </a:cubicBezTo>
                <a:cubicBezTo>
                  <a:pt x="1012" y="86"/>
                  <a:pt x="1013" y="87"/>
                  <a:pt x="1015" y="89"/>
                </a:cubicBezTo>
                <a:cubicBezTo>
                  <a:pt x="1015" y="89"/>
                  <a:pt x="1015" y="89"/>
                  <a:pt x="1015" y="89"/>
                </a:cubicBezTo>
                <a:cubicBezTo>
                  <a:pt x="1018" y="92"/>
                  <a:pt x="1021" y="96"/>
                  <a:pt x="1024" y="99"/>
                </a:cubicBezTo>
                <a:cubicBezTo>
                  <a:pt x="1024" y="99"/>
                  <a:pt x="1024" y="99"/>
                  <a:pt x="1024" y="99"/>
                </a:cubicBezTo>
                <a:cubicBezTo>
                  <a:pt x="1025" y="101"/>
                  <a:pt x="1027" y="102"/>
                  <a:pt x="1028" y="104"/>
                </a:cubicBezTo>
                <a:cubicBezTo>
                  <a:pt x="1028" y="104"/>
                  <a:pt x="1028" y="104"/>
                  <a:pt x="1028" y="104"/>
                </a:cubicBezTo>
                <a:cubicBezTo>
                  <a:pt x="1031" y="107"/>
                  <a:pt x="1033" y="111"/>
                  <a:pt x="1036" y="114"/>
                </a:cubicBezTo>
                <a:cubicBezTo>
                  <a:pt x="1036" y="114"/>
                  <a:pt x="1036" y="114"/>
                  <a:pt x="1036" y="114"/>
                </a:cubicBezTo>
                <a:cubicBezTo>
                  <a:pt x="1037" y="116"/>
                  <a:pt x="1038" y="118"/>
                  <a:pt x="1040" y="120"/>
                </a:cubicBezTo>
                <a:cubicBezTo>
                  <a:pt x="1040" y="120"/>
                  <a:pt x="1040" y="120"/>
                  <a:pt x="1040" y="120"/>
                </a:cubicBezTo>
                <a:cubicBezTo>
                  <a:pt x="1041" y="121"/>
                  <a:pt x="1042" y="123"/>
                  <a:pt x="1043" y="125"/>
                </a:cubicBezTo>
                <a:cubicBezTo>
                  <a:pt x="1043" y="125"/>
                  <a:pt x="1043" y="125"/>
                  <a:pt x="1043" y="125"/>
                </a:cubicBezTo>
                <a:cubicBezTo>
                  <a:pt x="1047" y="130"/>
                  <a:pt x="1050" y="136"/>
                  <a:pt x="1053" y="141"/>
                </a:cubicBezTo>
                <a:cubicBezTo>
                  <a:pt x="1053" y="141"/>
                  <a:pt x="1053" y="141"/>
                  <a:pt x="1053" y="141"/>
                </a:cubicBezTo>
                <a:cubicBezTo>
                  <a:pt x="1094" y="215"/>
                  <a:pt x="1095" y="304"/>
                  <a:pt x="1058" y="377"/>
                </a:cubicBezTo>
                <a:cubicBezTo>
                  <a:pt x="1058" y="377"/>
                  <a:pt x="1058" y="377"/>
                  <a:pt x="1058" y="377"/>
                </a:cubicBezTo>
                <a:cubicBezTo>
                  <a:pt x="1056" y="381"/>
                  <a:pt x="1054" y="385"/>
                  <a:pt x="1052" y="388"/>
                </a:cubicBezTo>
                <a:cubicBezTo>
                  <a:pt x="1052" y="388"/>
                  <a:pt x="1052" y="388"/>
                  <a:pt x="1052" y="388"/>
                </a:cubicBezTo>
                <a:cubicBezTo>
                  <a:pt x="1051" y="390"/>
                  <a:pt x="1050" y="392"/>
                  <a:pt x="1049" y="393"/>
                </a:cubicBezTo>
                <a:cubicBezTo>
                  <a:pt x="1049" y="393"/>
                  <a:pt x="1049" y="393"/>
                  <a:pt x="1049" y="393"/>
                </a:cubicBezTo>
                <a:cubicBezTo>
                  <a:pt x="1048" y="395"/>
                  <a:pt x="1047" y="397"/>
                  <a:pt x="1046" y="399"/>
                </a:cubicBezTo>
                <a:cubicBezTo>
                  <a:pt x="1046" y="399"/>
                  <a:pt x="1046" y="399"/>
                  <a:pt x="1046" y="399"/>
                </a:cubicBezTo>
                <a:cubicBezTo>
                  <a:pt x="1045" y="401"/>
                  <a:pt x="1043" y="402"/>
                  <a:pt x="1042" y="404"/>
                </a:cubicBezTo>
                <a:cubicBezTo>
                  <a:pt x="1042" y="404"/>
                  <a:pt x="1042" y="404"/>
                  <a:pt x="1042" y="404"/>
                </a:cubicBezTo>
                <a:cubicBezTo>
                  <a:pt x="1041" y="406"/>
                  <a:pt x="1040" y="408"/>
                  <a:pt x="1039" y="409"/>
                </a:cubicBezTo>
                <a:cubicBezTo>
                  <a:pt x="1039" y="409"/>
                  <a:pt x="1039" y="409"/>
                  <a:pt x="1039" y="409"/>
                </a:cubicBezTo>
                <a:cubicBezTo>
                  <a:pt x="1037" y="411"/>
                  <a:pt x="1036" y="413"/>
                  <a:pt x="1035" y="414"/>
                </a:cubicBezTo>
                <a:cubicBezTo>
                  <a:pt x="1035" y="414"/>
                  <a:pt x="1035" y="414"/>
                  <a:pt x="1035" y="414"/>
                </a:cubicBezTo>
                <a:cubicBezTo>
                  <a:pt x="1034" y="416"/>
                  <a:pt x="1033" y="418"/>
                  <a:pt x="1031" y="419"/>
                </a:cubicBezTo>
                <a:cubicBezTo>
                  <a:pt x="1031" y="419"/>
                  <a:pt x="1031" y="419"/>
                  <a:pt x="1031" y="419"/>
                </a:cubicBezTo>
                <a:cubicBezTo>
                  <a:pt x="1030" y="421"/>
                  <a:pt x="1029" y="423"/>
                  <a:pt x="1027" y="424"/>
                </a:cubicBezTo>
                <a:cubicBezTo>
                  <a:pt x="1027" y="424"/>
                  <a:pt x="1027" y="424"/>
                  <a:pt x="1027" y="424"/>
                </a:cubicBezTo>
                <a:cubicBezTo>
                  <a:pt x="1026" y="426"/>
                  <a:pt x="1025" y="428"/>
                  <a:pt x="1023" y="429"/>
                </a:cubicBezTo>
                <a:cubicBezTo>
                  <a:pt x="1023" y="429"/>
                  <a:pt x="1023" y="429"/>
                  <a:pt x="1023" y="429"/>
                </a:cubicBezTo>
                <a:cubicBezTo>
                  <a:pt x="1022" y="431"/>
                  <a:pt x="1020" y="432"/>
                  <a:pt x="1019" y="434"/>
                </a:cubicBezTo>
                <a:cubicBezTo>
                  <a:pt x="1019" y="434"/>
                  <a:pt x="1019" y="434"/>
                  <a:pt x="1019" y="434"/>
                </a:cubicBezTo>
                <a:cubicBezTo>
                  <a:pt x="1018" y="436"/>
                  <a:pt x="1016" y="437"/>
                  <a:pt x="1015" y="439"/>
                </a:cubicBezTo>
                <a:cubicBezTo>
                  <a:pt x="1015" y="439"/>
                  <a:pt x="1015" y="439"/>
                  <a:pt x="1015" y="439"/>
                </a:cubicBezTo>
                <a:cubicBezTo>
                  <a:pt x="1013" y="440"/>
                  <a:pt x="1012" y="442"/>
                  <a:pt x="1010" y="443"/>
                </a:cubicBezTo>
                <a:cubicBezTo>
                  <a:pt x="1010" y="443"/>
                  <a:pt x="1010" y="443"/>
                  <a:pt x="1010" y="443"/>
                </a:cubicBezTo>
                <a:cubicBezTo>
                  <a:pt x="1010" y="443"/>
                  <a:pt x="1010" y="443"/>
                  <a:pt x="1010" y="443"/>
                </a:cubicBezTo>
                <a:cubicBezTo>
                  <a:pt x="1008" y="445"/>
                  <a:pt x="1006" y="447"/>
                  <a:pt x="1004" y="449"/>
                </a:cubicBezTo>
                <a:cubicBezTo>
                  <a:pt x="1004" y="449"/>
                  <a:pt x="1003" y="450"/>
                  <a:pt x="1003" y="450"/>
                </a:cubicBezTo>
                <a:cubicBezTo>
                  <a:pt x="1001" y="452"/>
                  <a:pt x="1000" y="453"/>
                  <a:pt x="999" y="454"/>
                </a:cubicBezTo>
                <a:cubicBezTo>
                  <a:pt x="932" y="514"/>
                  <a:pt x="859" y="517"/>
                  <a:pt x="780" y="547"/>
                </a:cubicBezTo>
                <a:close/>
              </a:path>
            </a:pathLst>
          </a:custGeom>
          <a:solidFill>
            <a:schemeClr val="accent1">
              <a:lumMod val="100000"/>
            </a:schemeClr>
          </a:solidFill>
          <a:ln>
            <a:noFill/>
          </a:ln>
          <a:effectLst/>
        </p:spPr>
        <p:txBody>
          <a:bodyPr vert="horz" wrap="square" lIns="42863" tIns="21431" rIns="42863" bIns="21431" numCol="1" anchor="t" anchorCtr="0" compatLnSpc="1">
            <a:prstTxWarp prst="textNoShape">
              <a:avLst/>
            </a:prstTxWarp>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685783">
              <a:defRPr/>
            </a:pPr>
            <a:endParaRPr lang="en-US" sz="1013" b="1">
              <a:solidFill>
                <a:prstClr val="black"/>
              </a:solidFill>
              <a:latin typeface="Franklin Gothic Book" panose="020B0503020102020204"/>
            </a:endParaRPr>
          </a:p>
        </p:txBody>
      </p:sp>
      <p:sp>
        <p:nvSpPr>
          <p:cNvPr id="11" name="Shape1_20220715_174440">
            <a:extLst>
              <a:ext uri="{FF2B5EF4-FFF2-40B4-BE49-F238E27FC236}">
                <a16:creationId xmlns:a16="http://schemas.microsoft.com/office/drawing/2014/main" id="{2BAF32F8-DB54-46FF-8657-66F73124B5DE}"/>
              </a:ext>
            </a:extLst>
          </p:cNvPr>
          <p:cNvSpPr/>
          <p:nvPr>
            <p:custDataLst>
              <p:tags r:id="rId29"/>
            </p:custDataLst>
          </p:nvPr>
        </p:nvSpPr>
        <p:spPr>
          <a:xfrm>
            <a:off x="3070385" y="1890295"/>
            <a:ext cx="594471" cy="593069"/>
          </a:xfrm>
          <a:custGeom>
            <a:avLst/>
            <a:gdLst>
              <a:gd name="T0" fmla="*/ 397 w 483"/>
              <a:gd name="T1" fmla="*/ 397 h 483"/>
              <a:gd name="T2" fmla="*/ 86 w 483"/>
              <a:gd name="T3" fmla="*/ 397 h 483"/>
              <a:gd name="T4" fmla="*/ 86 w 483"/>
              <a:gd name="T5" fmla="*/ 86 h 483"/>
              <a:gd name="T6" fmla="*/ 397 w 483"/>
              <a:gd name="T7" fmla="*/ 86 h 483"/>
              <a:gd name="T8" fmla="*/ 397 w 483"/>
              <a:gd name="T9" fmla="*/ 397 h 483"/>
            </a:gdLst>
            <a:ahLst/>
            <a:cxnLst>
              <a:cxn ang="0">
                <a:pos x="T0" y="T1"/>
              </a:cxn>
              <a:cxn ang="0">
                <a:pos x="T2" y="T3"/>
              </a:cxn>
              <a:cxn ang="0">
                <a:pos x="T4" y="T5"/>
              </a:cxn>
              <a:cxn ang="0">
                <a:pos x="T6" y="T7"/>
              </a:cxn>
              <a:cxn ang="0">
                <a:pos x="T8" y="T9"/>
              </a:cxn>
            </a:cxnLst>
            <a:rect l="0" t="0" r="r" b="b"/>
            <a:pathLst>
              <a:path w="482" h="482">
                <a:moveTo>
                  <a:pt x="397" y="397"/>
                </a:moveTo>
                <a:cubicBezTo>
                  <a:pt x="311" y="483"/>
                  <a:pt x="172" y="483"/>
                  <a:pt x="86" y="397"/>
                </a:cubicBezTo>
                <a:cubicBezTo>
                  <a:pt x="0" y="311"/>
                  <a:pt x="0" y="172"/>
                  <a:pt x="86" y="86"/>
                </a:cubicBezTo>
                <a:cubicBezTo>
                  <a:pt x="172" y="0"/>
                  <a:pt x="311" y="0"/>
                  <a:pt x="397" y="86"/>
                </a:cubicBezTo>
                <a:cubicBezTo>
                  <a:pt x="483" y="172"/>
                  <a:pt x="483" y="311"/>
                  <a:pt x="397" y="397"/>
                </a:cubicBezTo>
                <a:close/>
              </a:path>
            </a:pathLst>
          </a:custGeom>
          <a:solidFill>
            <a:srgbClr val="FEFEFE"/>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42863" tIns="21431" rIns="42863" bIns="21431" numCol="1" anchor="ctr" anchorCtr="0" compatLnSpc="1">
            <a:prstTxWarp prst="textNoShape">
              <a:avLst/>
            </a:prstTxWarp>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137147" indent="-137147" algn="ctr" defTabSz="685783">
              <a:defRPr/>
            </a:pPr>
            <a:r>
              <a:rPr lang="en-US" sz="1050" b="1">
                <a:solidFill>
                  <a:prstClr val="black"/>
                </a:solidFill>
                <a:latin typeface="Century Gothic" panose="020B0502020202020204" pitchFamily="34" charset="0"/>
              </a:rPr>
              <a:t>08</a:t>
            </a:r>
          </a:p>
        </p:txBody>
      </p:sp>
      <p:sp>
        <p:nvSpPr>
          <p:cNvPr id="12" name="Shape2_20220715_174440">
            <a:extLst>
              <a:ext uri="{FF2B5EF4-FFF2-40B4-BE49-F238E27FC236}">
                <a16:creationId xmlns:a16="http://schemas.microsoft.com/office/drawing/2014/main" id="{8BE670CA-57C1-4C32-B731-3183A530EE23}"/>
              </a:ext>
            </a:extLst>
          </p:cNvPr>
          <p:cNvSpPr>
            <a:spLocks noChangeArrowheads="1"/>
          </p:cNvSpPr>
          <p:nvPr>
            <p:custDataLst>
              <p:tags r:id="rId30"/>
            </p:custDataLst>
          </p:nvPr>
        </p:nvSpPr>
        <p:spPr>
          <a:xfrm>
            <a:off x="3798365" y="1221341"/>
            <a:ext cx="542477" cy="541067"/>
          </a:xfrm>
          <a:prstGeom prst="ellipse">
            <a:avLst/>
          </a:prstGeom>
          <a:solidFill>
            <a:srgbClr val="FEFEFE"/>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42863" tIns="21431" rIns="42863" bIns="21431" numCol="1" anchor="ctr" anchorCtr="0" compatLnSpc="1">
            <a:prstTxWarp prst="textNoShape">
              <a:avLst/>
            </a:prstTxWarp>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137147" indent="-137147" algn="ctr" defTabSz="685783">
              <a:defRPr/>
            </a:pPr>
            <a:r>
              <a:rPr lang="en-US" sz="1050" b="1">
                <a:solidFill>
                  <a:prstClr val="black"/>
                </a:solidFill>
                <a:latin typeface="Century Gothic" panose="020B0502020202020204" pitchFamily="34" charset="0"/>
              </a:rPr>
              <a:t>01</a:t>
            </a:r>
          </a:p>
        </p:txBody>
      </p:sp>
      <p:sp>
        <p:nvSpPr>
          <p:cNvPr id="13" name="Shape7_20210625_204930">
            <a:extLst>
              <a:ext uri="{FF2B5EF4-FFF2-40B4-BE49-F238E27FC236}">
                <a16:creationId xmlns:a16="http://schemas.microsoft.com/office/drawing/2014/main" id="{90C86C7B-F426-43BA-BADD-D3497D4D09F8}"/>
              </a:ext>
            </a:extLst>
          </p:cNvPr>
          <p:cNvSpPr/>
          <p:nvPr>
            <p:custDataLst>
              <p:tags r:id="rId31"/>
            </p:custDataLst>
          </p:nvPr>
        </p:nvSpPr>
        <p:spPr>
          <a:xfrm>
            <a:off x="3042276" y="2847353"/>
            <a:ext cx="1346345" cy="1344941"/>
          </a:xfrm>
          <a:custGeom>
            <a:avLst/>
            <a:gdLst>
              <a:gd name="T0" fmla="*/ 547 w 1095"/>
              <a:gd name="T1" fmla="*/ 313 h 1094"/>
              <a:gd name="T2" fmla="*/ 449 w 1095"/>
              <a:gd name="T3" fmla="*/ 90 h 1094"/>
              <a:gd name="T4" fmla="*/ 444 w 1095"/>
              <a:gd name="T5" fmla="*/ 84 h 1094"/>
              <a:gd name="T6" fmla="*/ 434 w 1095"/>
              <a:gd name="T7" fmla="*/ 75 h 1094"/>
              <a:gd name="T8" fmla="*/ 430 w 1095"/>
              <a:gd name="T9" fmla="*/ 71 h 1094"/>
              <a:gd name="T10" fmla="*/ 420 w 1095"/>
              <a:gd name="T11" fmla="*/ 63 h 1094"/>
              <a:gd name="T12" fmla="*/ 415 w 1095"/>
              <a:gd name="T13" fmla="*/ 59 h 1094"/>
              <a:gd name="T14" fmla="*/ 405 w 1095"/>
              <a:gd name="T15" fmla="*/ 52 h 1094"/>
              <a:gd name="T16" fmla="*/ 399 w 1095"/>
              <a:gd name="T17" fmla="*/ 49 h 1094"/>
              <a:gd name="T18" fmla="*/ 389 w 1095"/>
              <a:gd name="T19" fmla="*/ 42 h 1094"/>
              <a:gd name="T20" fmla="*/ 378 w 1095"/>
              <a:gd name="T21" fmla="*/ 37 h 1094"/>
              <a:gd name="T22" fmla="*/ 125 w 1095"/>
              <a:gd name="T23" fmla="*/ 51 h 1094"/>
              <a:gd name="T24" fmla="*/ 120 w 1095"/>
              <a:gd name="T25" fmla="*/ 55 h 1094"/>
              <a:gd name="T26" fmla="*/ 104 w 1095"/>
              <a:gd name="T27" fmla="*/ 66 h 1094"/>
              <a:gd name="T28" fmla="*/ 99 w 1095"/>
              <a:gd name="T29" fmla="*/ 71 h 1094"/>
              <a:gd name="T30" fmla="*/ 85 w 1095"/>
              <a:gd name="T31" fmla="*/ 84 h 1094"/>
              <a:gd name="T32" fmla="*/ 80 w 1095"/>
              <a:gd name="T33" fmla="*/ 89 h 1094"/>
              <a:gd name="T34" fmla="*/ 67 w 1095"/>
              <a:gd name="T35" fmla="*/ 104 h 1094"/>
              <a:gd name="T36" fmla="*/ 59 w 1095"/>
              <a:gd name="T37" fmla="*/ 114 h 1094"/>
              <a:gd name="T38" fmla="*/ 52 w 1095"/>
              <a:gd name="T39" fmla="*/ 125 h 1094"/>
              <a:gd name="T40" fmla="*/ 42 w 1095"/>
              <a:gd name="T41" fmla="*/ 141 h 1094"/>
              <a:gd name="T42" fmla="*/ 43 w 1095"/>
              <a:gd name="T43" fmla="*/ 388 h 1094"/>
              <a:gd name="T44" fmla="*/ 46 w 1095"/>
              <a:gd name="T45" fmla="*/ 394 h 1094"/>
              <a:gd name="T46" fmla="*/ 53 w 1095"/>
              <a:gd name="T47" fmla="*/ 404 h 1094"/>
              <a:gd name="T48" fmla="*/ 56 w 1095"/>
              <a:gd name="T49" fmla="*/ 409 h 1094"/>
              <a:gd name="T50" fmla="*/ 64 w 1095"/>
              <a:gd name="T51" fmla="*/ 419 h 1094"/>
              <a:gd name="T52" fmla="*/ 68 w 1095"/>
              <a:gd name="T53" fmla="*/ 424 h 1094"/>
              <a:gd name="T54" fmla="*/ 76 w 1095"/>
              <a:gd name="T55" fmla="*/ 434 h 1094"/>
              <a:gd name="T56" fmla="*/ 80 w 1095"/>
              <a:gd name="T57" fmla="*/ 439 h 1094"/>
              <a:gd name="T58" fmla="*/ 86 w 1095"/>
              <a:gd name="T59" fmla="*/ 444 h 1094"/>
              <a:gd name="T60" fmla="*/ 90 w 1095"/>
              <a:gd name="T61" fmla="*/ 448 h 1094"/>
              <a:gd name="T62" fmla="*/ 547 w 1095"/>
              <a:gd name="T63" fmla="*/ 780 h 1094"/>
              <a:gd name="T64" fmla="*/ 645 w 1095"/>
              <a:gd name="T65" fmla="*/ 1004 h 1094"/>
              <a:gd name="T66" fmla="*/ 651 w 1095"/>
              <a:gd name="T67" fmla="*/ 1010 h 1094"/>
              <a:gd name="T68" fmla="*/ 660 w 1095"/>
              <a:gd name="T69" fmla="*/ 1019 h 1094"/>
              <a:gd name="T70" fmla="*/ 665 w 1095"/>
              <a:gd name="T71" fmla="*/ 1023 h 1094"/>
              <a:gd name="T72" fmla="*/ 675 w 1095"/>
              <a:gd name="T73" fmla="*/ 1031 h 1094"/>
              <a:gd name="T74" fmla="*/ 680 w 1095"/>
              <a:gd name="T75" fmla="*/ 1035 h 1094"/>
              <a:gd name="T76" fmla="*/ 690 w 1095"/>
              <a:gd name="T77" fmla="*/ 1042 h 1094"/>
              <a:gd name="T78" fmla="*/ 695 w 1095"/>
              <a:gd name="T79" fmla="*/ 1045 h 1094"/>
              <a:gd name="T80" fmla="*/ 706 w 1095"/>
              <a:gd name="T81" fmla="*/ 1052 h 1094"/>
              <a:gd name="T82" fmla="*/ 717 w 1095"/>
              <a:gd name="T83" fmla="*/ 1057 h 1094"/>
              <a:gd name="T84" fmla="*/ 970 w 1095"/>
              <a:gd name="T85" fmla="*/ 1043 h 1094"/>
              <a:gd name="T86" fmla="*/ 975 w 1095"/>
              <a:gd name="T87" fmla="*/ 1039 h 1094"/>
              <a:gd name="T88" fmla="*/ 990 w 1095"/>
              <a:gd name="T89" fmla="*/ 1028 h 1094"/>
              <a:gd name="T90" fmla="*/ 995 w 1095"/>
              <a:gd name="T91" fmla="*/ 1023 h 1094"/>
              <a:gd name="T92" fmla="*/ 1010 w 1095"/>
              <a:gd name="T93" fmla="*/ 1010 h 1094"/>
              <a:gd name="T94" fmla="*/ 1015 w 1095"/>
              <a:gd name="T95" fmla="*/ 1005 h 1094"/>
              <a:gd name="T96" fmla="*/ 1028 w 1095"/>
              <a:gd name="T97" fmla="*/ 990 h 1094"/>
              <a:gd name="T98" fmla="*/ 1036 w 1095"/>
              <a:gd name="T99" fmla="*/ 980 h 1094"/>
              <a:gd name="T100" fmla="*/ 1043 w 1095"/>
              <a:gd name="T101" fmla="*/ 969 h 1094"/>
              <a:gd name="T102" fmla="*/ 1053 w 1095"/>
              <a:gd name="T103" fmla="*/ 953 h 1094"/>
              <a:gd name="T104" fmla="*/ 1052 w 1095"/>
              <a:gd name="T105" fmla="*/ 706 h 1094"/>
              <a:gd name="T106" fmla="*/ 1049 w 1095"/>
              <a:gd name="T107" fmla="*/ 700 h 1094"/>
              <a:gd name="T108" fmla="*/ 1042 w 1095"/>
              <a:gd name="T109" fmla="*/ 690 h 1094"/>
              <a:gd name="T110" fmla="*/ 1039 w 1095"/>
              <a:gd name="T111" fmla="*/ 685 h 1094"/>
              <a:gd name="T112" fmla="*/ 1031 w 1095"/>
              <a:gd name="T113" fmla="*/ 675 h 1094"/>
              <a:gd name="T114" fmla="*/ 1027 w 1095"/>
              <a:gd name="T115" fmla="*/ 670 h 1094"/>
              <a:gd name="T116" fmla="*/ 1019 w 1095"/>
              <a:gd name="T117" fmla="*/ 660 h 1094"/>
              <a:gd name="T118" fmla="*/ 1015 w 1095"/>
              <a:gd name="T119" fmla="*/ 655 h 1094"/>
              <a:gd name="T120" fmla="*/ 1010 w 1095"/>
              <a:gd name="T121" fmla="*/ 651 h 1094"/>
              <a:gd name="T122" fmla="*/ 999 w 1095"/>
              <a:gd name="T123" fmla="*/ 640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95" h="1094">
                <a:moveTo>
                  <a:pt x="780" y="547"/>
                </a:moveTo>
                <a:cubicBezTo>
                  <a:pt x="737" y="529"/>
                  <a:pt x="691" y="502"/>
                  <a:pt x="642" y="455"/>
                </a:cubicBezTo>
                <a:cubicBezTo>
                  <a:pt x="593" y="405"/>
                  <a:pt x="566" y="358"/>
                  <a:pt x="547" y="313"/>
                </a:cubicBezTo>
                <a:cubicBezTo>
                  <a:pt x="518" y="234"/>
                  <a:pt x="514" y="162"/>
                  <a:pt x="454" y="95"/>
                </a:cubicBezTo>
                <a:cubicBezTo>
                  <a:pt x="453" y="94"/>
                  <a:pt x="452" y="93"/>
                  <a:pt x="451" y="92"/>
                </a:cubicBezTo>
                <a:cubicBezTo>
                  <a:pt x="449" y="90"/>
                  <a:pt x="449" y="90"/>
                  <a:pt x="449" y="90"/>
                </a:cubicBezTo>
                <a:cubicBezTo>
                  <a:pt x="448" y="88"/>
                  <a:pt x="446" y="86"/>
                  <a:pt x="444" y="84"/>
                </a:cubicBezTo>
                <a:cubicBezTo>
                  <a:pt x="444" y="84"/>
                  <a:pt x="444" y="84"/>
                  <a:pt x="444" y="84"/>
                </a:cubicBezTo>
                <a:cubicBezTo>
                  <a:pt x="444" y="84"/>
                  <a:pt x="444" y="84"/>
                  <a:pt x="444" y="84"/>
                </a:cubicBezTo>
                <a:cubicBezTo>
                  <a:pt x="442" y="83"/>
                  <a:pt x="441" y="81"/>
                  <a:pt x="439" y="80"/>
                </a:cubicBezTo>
                <a:cubicBezTo>
                  <a:pt x="439" y="80"/>
                  <a:pt x="439" y="80"/>
                  <a:pt x="439" y="80"/>
                </a:cubicBezTo>
                <a:cubicBezTo>
                  <a:pt x="437" y="78"/>
                  <a:pt x="436" y="77"/>
                  <a:pt x="434" y="75"/>
                </a:cubicBezTo>
                <a:cubicBezTo>
                  <a:pt x="434" y="75"/>
                  <a:pt x="434" y="75"/>
                  <a:pt x="434" y="75"/>
                </a:cubicBezTo>
                <a:cubicBezTo>
                  <a:pt x="433" y="74"/>
                  <a:pt x="431" y="73"/>
                  <a:pt x="430" y="71"/>
                </a:cubicBezTo>
                <a:cubicBezTo>
                  <a:pt x="430" y="71"/>
                  <a:pt x="430" y="71"/>
                  <a:pt x="430" y="71"/>
                </a:cubicBezTo>
                <a:cubicBezTo>
                  <a:pt x="428" y="70"/>
                  <a:pt x="426" y="68"/>
                  <a:pt x="425" y="67"/>
                </a:cubicBezTo>
                <a:cubicBezTo>
                  <a:pt x="425" y="67"/>
                  <a:pt x="425" y="67"/>
                  <a:pt x="425" y="67"/>
                </a:cubicBezTo>
                <a:cubicBezTo>
                  <a:pt x="423" y="66"/>
                  <a:pt x="421" y="64"/>
                  <a:pt x="420" y="63"/>
                </a:cubicBezTo>
                <a:cubicBezTo>
                  <a:pt x="420" y="63"/>
                  <a:pt x="420" y="63"/>
                  <a:pt x="420" y="63"/>
                </a:cubicBezTo>
                <a:cubicBezTo>
                  <a:pt x="418" y="62"/>
                  <a:pt x="416" y="61"/>
                  <a:pt x="415" y="59"/>
                </a:cubicBezTo>
                <a:cubicBezTo>
                  <a:pt x="415" y="59"/>
                  <a:pt x="415" y="59"/>
                  <a:pt x="415" y="59"/>
                </a:cubicBezTo>
                <a:cubicBezTo>
                  <a:pt x="413" y="58"/>
                  <a:pt x="411" y="57"/>
                  <a:pt x="410" y="56"/>
                </a:cubicBezTo>
                <a:cubicBezTo>
                  <a:pt x="410" y="56"/>
                  <a:pt x="410" y="56"/>
                  <a:pt x="410" y="56"/>
                </a:cubicBezTo>
                <a:cubicBezTo>
                  <a:pt x="408" y="54"/>
                  <a:pt x="406" y="53"/>
                  <a:pt x="405" y="52"/>
                </a:cubicBezTo>
                <a:cubicBezTo>
                  <a:pt x="405" y="52"/>
                  <a:pt x="405" y="52"/>
                  <a:pt x="405" y="52"/>
                </a:cubicBezTo>
                <a:cubicBezTo>
                  <a:pt x="403" y="51"/>
                  <a:pt x="401" y="50"/>
                  <a:pt x="399" y="49"/>
                </a:cubicBezTo>
                <a:cubicBezTo>
                  <a:pt x="399" y="49"/>
                  <a:pt x="399" y="49"/>
                  <a:pt x="399" y="49"/>
                </a:cubicBezTo>
                <a:cubicBezTo>
                  <a:pt x="398" y="48"/>
                  <a:pt x="396" y="47"/>
                  <a:pt x="394" y="45"/>
                </a:cubicBezTo>
                <a:cubicBezTo>
                  <a:pt x="394" y="45"/>
                  <a:pt x="394" y="45"/>
                  <a:pt x="394" y="45"/>
                </a:cubicBezTo>
                <a:cubicBezTo>
                  <a:pt x="392" y="44"/>
                  <a:pt x="390" y="43"/>
                  <a:pt x="389" y="42"/>
                </a:cubicBezTo>
                <a:cubicBezTo>
                  <a:pt x="389" y="42"/>
                  <a:pt x="389" y="42"/>
                  <a:pt x="389" y="42"/>
                </a:cubicBezTo>
                <a:cubicBezTo>
                  <a:pt x="385" y="40"/>
                  <a:pt x="381" y="38"/>
                  <a:pt x="378" y="37"/>
                </a:cubicBezTo>
                <a:cubicBezTo>
                  <a:pt x="378" y="37"/>
                  <a:pt x="378" y="37"/>
                  <a:pt x="378" y="37"/>
                </a:cubicBezTo>
                <a:cubicBezTo>
                  <a:pt x="304" y="0"/>
                  <a:pt x="216" y="0"/>
                  <a:pt x="142" y="41"/>
                </a:cubicBezTo>
                <a:cubicBezTo>
                  <a:pt x="142" y="41"/>
                  <a:pt x="142" y="41"/>
                  <a:pt x="142" y="41"/>
                </a:cubicBezTo>
                <a:cubicBezTo>
                  <a:pt x="136" y="44"/>
                  <a:pt x="131" y="48"/>
                  <a:pt x="125" y="51"/>
                </a:cubicBezTo>
                <a:cubicBezTo>
                  <a:pt x="125" y="51"/>
                  <a:pt x="125" y="51"/>
                  <a:pt x="125" y="51"/>
                </a:cubicBezTo>
                <a:cubicBezTo>
                  <a:pt x="124" y="52"/>
                  <a:pt x="122" y="53"/>
                  <a:pt x="120" y="55"/>
                </a:cubicBezTo>
                <a:cubicBezTo>
                  <a:pt x="120" y="55"/>
                  <a:pt x="120" y="55"/>
                  <a:pt x="120" y="55"/>
                </a:cubicBezTo>
                <a:cubicBezTo>
                  <a:pt x="118" y="56"/>
                  <a:pt x="116" y="57"/>
                  <a:pt x="115" y="58"/>
                </a:cubicBezTo>
                <a:cubicBezTo>
                  <a:pt x="115" y="58"/>
                  <a:pt x="115" y="58"/>
                  <a:pt x="115" y="58"/>
                </a:cubicBezTo>
                <a:cubicBezTo>
                  <a:pt x="111" y="61"/>
                  <a:pt x="108" y="64"/>
                  <a:pt x="104" y="66"/>
                </a:cubicBezTo>
                <a:cubicBezTo>
                  <a:pt x="104" y="66"/>
                  <a:pt x="104" y="66"/>
                  <a:pt x="104" y="66"/>
                </a:cubicBezTo>
                <a:cubicBezTo>
                  <a:pt x="103" y="68"/>
                  <a:pt x="101" y="69"/>
                  <a:pt x="99" y="71"/>
                </a:cubicBezTo>
                <a:cubicBezTo>
                  <a:pt x="99" y="71"/>
                  <a:pt x="99" y="71"/>
                  <a:pt x="99" y="71"/>
                </a:cubicBezTo>
                <a:cubicBezTo>
                  <a:pt x="96" y="73"/>
                  <a:pt x="93" y="76"/>
                  <a:pt x="89" y="80"/>
                </a:cubicBezTo>
                <a:cubicBezTo>
                  <a:pt x="89" y="80"/>
                  <a:pt x="89" y="80"/>
                  <a:pt x="89" y="80"/>
                </a:cubicBezTo>
                <a:cubicBezTo>
                  <a:pt x="88" y="81"/>
                  <a:pt x="86" y="83"/>
                  <a:pt x="85" y="84"/>
                </a:cubicBezTo>
                <a:cubicBezTo>
                  <a:pt x="85" y="84"/>
                  <a:pt x="85" y="84"/>
                  <a:pt x="85" y="84"/>
                </a:cubicBezTo>
                <a:cubicBezTo>
                  <a:pt x="83" y="86"/>
                  <a:pt x="81" y="87"/>
                  <a:pt x="80" y="89"/>
                </a:cubicBezTo>
                <a:cubicBezTo>
                  <a:pt x="80" y="89"/>
                  <a:pt x="80" y="89"/>
                  <a:pt x="80" y="89"/>
                </a:cubicBezTo>
                <a:cubicBezTo>
                  <a:pt x="77" y="92"/>
                  <a:pt x="74" y="96"/>
                  <a:pt x="71" y="99"/>
                </a:cubicBezTo>
                <a:cubicBezTo>
                  <a:pt x="71" y="99"/>
                  <a:pt x="71" y="99"/>
                  <a:pt x="71" y="99"/>
                </a:cubicBezTo>
                <a:cubicBezTo>
                  <a:pt x="70" y="101"/>
                  <a:pt x="68" y="102"/>
                  <a:pt x="67" y="104"/>
                </a:cubicBezTo>
                <a:cubicBezTo>
                  <a:pt x="67" y="104"/>
                  <a:pt x="67" y="104"/>
                  <a:pt x="67" y="104"/>
                </a:cubicBezTo>
                <a:cubicBezTo>
                  <a:pt x="64" y="107"/>
                  <a:pt x="61" y="111"/>
                  <a:pt x="59" y="114"/>
                </a:cubicBezTo>
                <a:cubicBezTo>
                  <a:pt x="59" y="114"/>
                  <a:pt x="59" y="114"/>
                  <a:pt x="59" y="114"/>
                </a:cubicBezTo>
                <a:cubicBezTo>
                  <a:pt x="58" y="116"/>
                  <a:pt x="56" y="118"/>
                  <a:pt x="55" y="119"/>
                </a:cubicBezTo>
                <a:cubicBezTo>
                  <a:pt x="55" y="119"/>
                  <a:pt x="55" y="119"/>
                  <a:pt x="55" y="119"/>
                </a:cubicBezTo>
                <a:cubicBezTo>
                  <a:pt x="54" y="121"/>
                  <a:pt x="53" y="123"/>
                  <a:pt x="52" y="125"/>
                </a:cubicBezTo>
                <a:cubicBezTo>
                  <a:pt x="52" y="125"/>
                  <a:pt x="52" y="125"/>
                  <a:pt x="52" y="125"/>
                </a:cubicBezTo>
                <a:cubicBezTo>
                  <a:pt x="48" y="130"/>
                  <a:pt x="45" y="136"/>
                  <a:pt x="42" y="141"/>
                </a:cubicBezTo>
                <a:cubicBezTo>
                  <a:pt x="42" y="141"/>
                  <a:pt x="42" y="141"/>
                  <a:pt x="42" y="141"/>
                </a:cubicBezTo>
                <a:cubicBezTo>
                  <a:pt x="1" y="215"/>
                  <a:pt x="0" y="304"/>
                  <a:pt x="37" y="377"/>
                </a:cubicBezTo>
                <a:cubicBezTo>
                  <a:pt x="37" y="377"/>
                  <a:pt x="37" y="377"/>
                  <a:pt x="37" y="377"/>
                </a:cubicBezTo>
                <a:cubicBezTo>
                  <a:pt x="39" y="381"/>
                  <a:pt x="41" y="385"/>
                  <a:pt x="43" y="388"/>
                </a:cubicBezTo>
                <a:cubicBezTo>
                  <a:pt x="43" y="388"/>
                  <a:pt x="43" y="388"/>
                  <a:pt x="43" y="388"/>
                </a:cubicBezTo>
                <a:cubicBezTo>
                  <a:pt x="44" y="390"/>
                  <a:pt x="45" y="392"/>
                  <a:pt x="46" y="394"/>
                </a:cubicBezTo>
                <a:cubicBezTo>
                  <a:pt x="46" y="394"/>
                  <a:pt x="46" y="394"/>
                  <a:pt x="46" y="394"/>
                </a:cubicBezTo>
                <a:cubicBezTo>
                  <a:pt x="47" y="395"/>
                  <a:pt x="48" y="397"/>
                  <a:pt x="49" y="399"/>
                </a:cubicBezTo>
                <a:cubicBezTo>
                  <a:pt x="49" y="399"/>
                  <a:pt x="49" y="399"/>
                  <a:pt x="49" y="399"/>
                </a:cubicBezTo>
                <a:cubicBezTo>
                  <a:pt x="50" y="401"/>
                  <a:pt x="51" y="402"/>
                  <a:pt x="53" y="404"/>
                </a:cubicBezTo>
                <a:cubicBezTo>
                  <a:pt x="53" y="404"/>
                  <a:pt x="53" y="404"/>
                  <a:pt x="53" y="404"/>
                </a:cubicBezTo>
                <a:cubicBezTo>
                  <a:pt x="54" y="406"/>
                  <a:pt x="55" y="408"/>
                  <a:pt x="56" y="409"/>
                </a:cubicBezTo>
                <a:cubicBezTo>
                  <a:pt x="56" y="409"/>
                  <a:pt x="56" y="409"/>
                  <a:pt x="56" y="409"/>
                </a:cubicBezTo>
                <a:cubicBezTo>
                  <a:pt x="57" y="411"/>
                  <a:pt x="59" y="413"/>
                  <a:pt x="60" y="414"/>
                </a:cubicBezTo>
                <a:cubicBezTo>
                  <a:pt x="60" y="414"/>
                  <a:pt x="60" y="414"/>
                  <a:pt x="60" y="414"/>
                </a:cubicBezTo>
                <a:cubicBezTo>
                  <a:pt x="61" y="416"/>
                  <a:pt x="62" y="418"/>
                  <a:pt x="64" y="419"/>
                </a:cubicBezTo>
                <a:cubicBezTo>
                  <a:pt x="64" y="419"/>
                  <a:pt x="64" y="419"/>
                  <a:pt x="64" y="419"/>
                </a:cubicBezTo>
                <a:cubicBezTo>
                  <a:pt x="65" y="421"/>
                  <a:pt x="66" y="423"/>
                  <a:pt x="68" y="424"/>
                </a:cubicBezTo>
                <a:cubicBezTo>
                  <a:pt x="68" y="424"/>
                  <a:pt x="68" y="424"/>
                  <a:pt x="68" y="424"/>
                </a:cubicBezTo>
                <a:cubicBezTo>
                  <a:pt x="69" y="426"/>
                  <a:pt x="70" y="428"/>
                  <a:pt x="72" y="429"/>
                </a:cubicBezTo>
                <a:cubicBezTo>
                  <a:pt x="72" y="429"/>
                  <a:pt x="72" y="429"/>
                  <a:pt x="72" y="429"/>
                </a:cubicBezTo>
                <a:cubicBezTo>
                  <a:pt x="73" y="431"/>
                  <a:pt x="74" y="432"/>
                  <a:pt x="76" y="434"/>
                </a:cubicBezTo>
                <a:cubicBezTo>
                  <a:pt x="76" y="434"/>
                  <a:pt x="76" y="434"/>
                  <a:pt x="76" y="434"/>
                </a:cubicBezTo>
                <a:cubicBezTo>
                  <a:pt x="77" y="436"/>
                  <a:pt x="79" y="437"/>
                  <a:pt x="80" y="439"/>
                </a:cubicBezTo>
                <a:cubicBezTo>
                  <a:pt x="80" y="439"/>
                  <a:pt x="80" y="439"/>
                  <a:pt x="80" y="439"/>
                </a:cubicBezTo>
                <a:cubicBezTo>
                  <a:pt x="82" y="440"/>
                  <a:pt x="83" y="442"/>
                  <a:pt x="85" y="443"/>
                </a:cubicBezTo>
                <a:cubicBezTo>
                  <a:pt x="85" y="443"/>
                  <a:pt x="85" y="443"/>
                  <a:pt x="85" y="443"/>
                </a:cubicBezTo>
                <a:cubicBezTo>
                  <a:pt x="86" y="444"/>
                  <a:pt x="86" y="444"/>
                  <a:pt x="86" y="444"/>
                </a:cubicBezTo>
                <a:cubicBezTo>
                  <a:pt x="86" y="445"/>
                  <a:pt x="87" y="445"/>
                  <a:pt x="87" y="446"/>
                </a:cubicBezTo>
                <a:cubicBezTo>
                  <a:pt x="88" y="447"/>
                  <a:pt x="89" y="448"/>
                  <a:pt x="90" y="448"/>
                </a:cubicBezTo>
                <a:cubicBezTo>
                  <a:pt x="90" y="448"/>
                  <a:pt x="90" y="448"/>
                  <a:pt x="90" y="448"/>
                </a:cubicBezTo>
                <a:cubicBezTo>
                  <a:pt x="158" y="513"/>
                  <a:pt x="233" y="516"/>
                  <a:pt x="313" y="547"/>
                </a:cubicBezTo>
                <a:cubicBezTo>
                  <a:pt x="358" y="565"/>
                  <a:pt x="405" y="592"/>
                  <a:pt x="455" y="641"/>
                </a:cubicBezTo>
                <a:cubicBezTo>
                  <a:pt x="502" y="690"/>
                  <a:pt x="529" y="736"/>
                  <a:pt x="547" y="780"/>
                </a:cubicBezTo>
                <a:cubicBezTo>
                  <a:pt x="577" y="859"/>
                  <a:pt x="581" y="931"/>
                  <a:pt x="641" y="999"/>
                </a:cubicBezTo>
                <a:cubicBezTo>
                  <a:pt x="642" y="1000"/>
                  <a:pt x="643" y="1001"/>
                  <a:pt x="644" y="1002"/>
                </a:cubicBezTo>
                <a:cubicBezTo>
                  <a:pt x="645" y="1004"/>
                  <a:pt x="645" y="1004"/>
                  <a:pt x="645" y="1004"/>
                </a:cubicBezTo>
                <a:cubicBezTo>
                  <a:pt x="647" y="1006"/>
                  <a:pt x="649" y="1008"/>
                  <a:pt x="651" y="1010"/>
                </a:cubicBezTo>
                <a:cubicBezTo>
                  <a:pt x="651" y="1010"/>
                  <a:pt x="651" y="1010"/>
                  <a:pt x="651" y="1010"/>
                </a:cubicBezTo>
                <a:cubicBezTo>
                  <a:pt x="651" y="1010"/>
                  <a:pt x="651" y="1010"/>
                  <a:pt x="651" y="1010"/>
                </a:cubicBezTo>
                <a:cubicBezTo>
                  <a:pt x="653" y="1011"/>
                  <a:pt x="654" y="1013"/>
                  <a:pt x="656" y="1014"/>
                </a:cubicBezTo>
                <a:cubicBezTo>
                  <a:pt x="656" y="1014"/>
                  <a:pt x="656" y="1014"/>
                  <a:pt x="656" y="1014"/>
                </a:cubicBezTo>
                <a:cubicBezTo>
                  <a:pt x="657" y="1016"/>
                  <a:pt x="659" y="1017"/>
                  <a:pt x="660" y="1019"/>
                </a:cubicBezTo>
                <a:cubicBezTo>
                  <a:pt x="660" y="1019"/>
                  <a:pt x="660" y="1019"/>
                  <a:pt x="660" y="1019"/>
                </a:cubicBezTo>
                <a:cubicBezTo>
                  <a:pt x="662" y="1020"/>
                  <a:pt x="664" y="1021"/>
                  <a:pt x="665" y="1023"/>
                </a:cubicBezTo>
                <a:cubicBezTo>
                  <a:pt x="665" y="1023"/>
                  <a:pt x="665" y="1023"/>
                  <a:pt x="665" y="1023"/>
                </a:cubicBezTo>
                <a:cubicBezTo>
                  <a:pt x="667" y="1024"/>
                  <a:pt x="668" y="1026"/>
                  <a:pt x="670" y="1027"/>
                </a:cubicBezTo>
                <a:cubicBezTo>
                  <a:pt x="670" y="1027"/>
                  <a:pt x="670" y="1027"/>
                  <a:pt x="670" y="1027"/>
                </a:cubicBezTo>
                <a:cubicBezTo>
                  <a:pt x="672" y="1028"/>
                  <a:pt x="673" y="1030"/>
                  <a:pt x="675" y="1031"/>
                </a:cubicBezTo>
                <a:cubicBezTo>
                  <a:pt x="675" y="1031"/>
                  <a:pt x="675" y="1031"/>
                  <a:pt x="675" y="1031"/>
                </a:cubicBezTo>
                <a:cubicBezTo>
                  <a:pt x="677" y="1032"/>
                  <a:pt x="678" y="1033"/>
                  <a:pt x="680" y="1035"/>
                </a:cubicBezTo>
                <a:cubicBezTo>
                  <a:pt x="680" y="1035"/>
                  <a:pt x="680" y="1035"/>
                  <a:pt x="680" y="1035"/>
                </a:cubicBezTo>
                <a:cubicBezTo>
                  <a:pt x="682" y="1036"/>
                  <a:pt x="683" y="1037"/>
                  <a:pt x="685" y="1038"/>
                </a:cubicBezTo>
                <a:cubicBezTo>
                  <a:pt x="685" y="1038"/>
                  <a:pt x="685" y="1038"/>
                  <a:pt x="685" y="1038"/>
                </a:cubicBezTo>
                <a:cubicBezTo>
                  <a:pt x="687" y="1039"/>
                  <a:pt x="689" y="1041"/>
                  <a:pt x="690" y="1042"/>
                </a:cubicBezTo>
                <a:cubicBezTo>
                  <a:pt x="690" y="1042"/>
                  <a:pt x="690" y="1042"/>
                  <a:pt x="690" y="1042"/>
                </a:cubicBezTo>
                <a:cubicBezTo>
                  <a:pt x="692" y="1043"/>
                  <a:pt x="694" y="1044"/>
                  <a:pt x="695" y="1045"/>
                </a:cubicBezTo>
                <a:cubicBezTo>
                  <a:pt x="695" y="1045"/>
                  <a:pt x="695" y="1045"/>
                  <a:pt x="695" y="1045"/>
                </a:cubicBezTo>
                <a:cubicBezTo>
                  <a:pt x="697" y="1046"/>
                  <a:pt x="699" y="1047"/>
                  <a:pt x="701" y="1048"/>
                </a:cubicBezTo>
                <a:cubicBezTo>
                  <a:pt x="701" y="1048"/>
                  <a:pt x="701" y="1048"/>
                  <a:pt x="701" y="1048"/>
                </a:cubicBezTo>
                <a:cubicBezTo>
                  <a:pt x="703" y="1050"/>
                  <a:pt x="704" y="1051"/>
                  <a:pt x="706" y="1052"/>
                </a:cubicBezTo>
                <a:cubicBezTo>
                  <a:pt x="706" y="1052"/>
                  <a:pt x="706" y="1052"/>
                  <a:pt x="706" y="1052"/>
                </a:cubicBezTo>
                <a:cubicBezTo>
                  <a:pt x="710" y="1054"/>
                  <a:pt x="713" y="1055"/>
                  <a:pt x="717" y="1057"/>
                </a:cubicBezTo>
                <a:cubicBezTo>
                  <a:pt x="717" y="1057"/>
                  <a:pt x="717" y="1057"/>
                  <a:pt x="717" y="1057"/>
                </a:cubicBezTo>
                <a:cubicBezTo>
                  <a:pt x="791" y="1094"/>
                  <a:pt x="879" y="1094"/>
                  <a:pt x="953" y="1053"/>
                </a:cubicBezTo>
                <a:cubicBezTo>
                  <a:pt x="953" y="1053"/>
                  <a:pt x="953" y="1053"/>
                  <a:pt x="953" y="1053"/>
                </a:cubicBezTo>
                <a:cubicBezTo>
                  <a:pt x="959" y="1050"/>
                  <a:pt x="964" y="1046"/>
                  <a:pt x="970" y="1043"/>
                </a:cubicBezTo>
                <a:cubicBezTo>
                  <a:pt x="970" y="1043"/>
                  <a:pt x="970" y="1043"/>
                  <a:pt x="970" y="1043"/>
                </a:cubicBezTo>
                <a:cubicBezTo>
                  <a:pt x="971" y="1042"/>
                  <a:pt x="973" y="1040"/>
                  <a:pt x="975" y="1039"/>
                </a:cubicBezTo>
                <a:cubicBezTo>
                  <a:pt x="975" y="1039"/>
                  <a:pt x="975" y="1039"/>
                  <a:pt x="975" y="1039"/>
                </a:cubicBezTo>
                <a:cubicBezTo>
                  <a:pt x="977" y="1038"/>
                  <a:pt x="978" y="1037"/>
                  <a:pt x="980" y="1035"/>
                </a:cubicBezTo>
                <a:cubicBezTo>
                  <a:pt x="980" y="1035"/>
                  <a:pt x="980" y="1035"/>
                  <a:pt x="980" y="1035"/>
                </a:cubicBezTo>
                <a:cubicBezTo>
                  <a:pt x="984" y="1033"/>
                  <a:pt x="987" y="1030"/>
                  <a:pt x="990" y="1028"/>
                </a:cubicBezTo>
                <a:cubicBezTo>
                  <a:pt x="990" y="1027"/>
                  <a:pt x="990" y="1027"/>
                  <a:pt x="990" y="1027"/>
                </a:cubicBezTo>
                <a:cubicBezTo>
                  <a:pt x="992" y="1026"/>
                  <a:pt x="994" y="1025"/>
                  <a:pt x="995" y="1023"/>
                </a:cubicBezTo>
                <a:cubicBezTo>
                  <a:pt x="995" y="1023"/>
                  <a:pt x="995" y="1023"/>
                  <a:pt x="995" y="1023"/>
                </a:cubicBezTo>
                <a:cubicBezTo>
                  <a:pt x="999" y="1020"/>
                  <a:pt x="1002" y="1018"/>
                  <a:pt x="1005" y="1014"/>
                </a:cubicBezTo>
                <a:cubicBezTo>
                  <a:pt x="1005" y="1014"/>
                  <a:pt x="1005" y="1014"/>
                  <a:pt x="1005" y="1014"/>
                </a:cubicBezTo>
                <a:cubicBezTo>
                  <a:pt x="1007" y="1013"/>
                  <a:pt x="1009" y="1011"/>
                  <a:pt x="1010" y="1010"/>
                </a:cubicBezTo>
                <a:cubicBezTo>
                  <a:pt x="1010" y="1010"/>
                  <a:pt x="1010" y="1010"/>
                  <a:pt x="1010" y="1010"/>
                </a:cubicBezTo>
                <a:cubicBezTo>
                  <a:pt x="1012" y="1008"/>
                  <a:pt x="1013" y="1007"/>
                  <a:pt x="1015" y="1005"/>
                </a:cubicBezTo>
                <a:cubicBezTo>
                  <a:pt x="1015" y="1005"/>
                  <a:pt x="1015" y="1005"/>
                  <a:pt x="1015" y="1005"/>
                </a:cubicBezTo>
                <a:cubicBezTo>
                  <a:pt x="1018" y="1002"/>
                  <a:pt x="1021" y="998"/>
                  <a:pt x="1024" y="995"/>
                </a:cubicBezTo>
                <a:cubicBezTo>
                  <a:pt x="1024" y="995"/>
                  <a:pt x="1024" y="995"/>
                  <a:pt x="1024" y="995"/>
                </a:cubicBezTo>
                <a:cubicBezTo>
                  <a:pt x="1025" y="993"/>
                  <a:pt x="1027" y="992"/>
                  <a:pt x="1028" y="990"/>
                </a:cubicBezTo>
                <a:cubicBezTo>
                  <a:pt x="1028" y="990"/>
                  <a:pt x="1028" y="990"/>
                  <a:pt x="1028" y="990"/>
                </a:cubicBezTo>
                <a:cubicBezTo>
                  <a:pt x="1031" y="987"/>
                  <a:pt x="1033" y="983"/>
                  <a:pt x="1036" y="980"/>
                </a:cubicBezTo>
                <a:cubicBezTo>
                  <a:pt x="1036" y="980"/>
                  <a:pt x="1036" y="980"/>
                  <a:pt x="1036" y="980"/>
                </a:cubicBezTo>
                <a:cubicBezTo>
                  <a:pt x="1037" y="978"/>
                  <a:pt x="1038" y="976"/>
                  <a:pt x="1040" y="974"/>
                </a:cubicBezTo>
                <a:cubicBezTo>
                  <a:pt x="1040" y="974"/>
                  <a:pt x="1040" y="974"/>
                  <a:pt x="1040" y="974"/>
                </a:cubicBezTo>
                <a:cubicBezTo>
                  <a:pt x="1041" y="973"/>
                  <a:pt x="1042" y="971"/>
                  <a:pt x="1043" y="969"/>
                </a:cubicBezTo>
                <a:cubicBezTo>
                  <a:pt x="1043" y="969"/>
                  <a:pt x="1043" y="969"/>
                  <a:pt x="1043" y="969"/>
                </a:cubicBezTo>
                <a:cubicBezTo>
                  <a:pt x="1047" y="964"/>
                  <a:pt x="1050" y="958"/>
                  <a:pt x="1053" y="953"/>
                </a:cubicBezTo>
                <a:cubicBezTo>
                  <a:pt x="1053" y="953"/>
                  <a:pt x="1053" y="953"/>
                  <a:pt x="1053" y="953"/>
                </a:cubicBezTo>
                <a:cubicBezTo>
                  <a:pt x="1094" y="879"/>
                  <a:pt x="1095" y="790"/>
                  <a:pt x="1058" y="717"/>
                </a:cubicBezTo>
                <a:cubicBezTo>
                  <a:pt x="1058" y="717"/>
                  <a:pt x="1058" y="717"/>
                  <a:pt x="1058" y="717"/>
                </a:cubicBezTo>
                <a:cubicBezTo>
                  <a:pt x="1056" y="713"/>
                  <a:pt x="1054" y="709"/>
                  <a:pt x="1052" y="706"/>
                </a:cubicBezTo>
                <a:cubicBezTo>
                  <a:pt x="1052" y="706"/>
                  <a:pt x="1052" y="706"/>
                  <a:pt x="1052" y="706"/>
                </a:cubicBezTo>
                <a:cubicBezTo>
                  <a:pt x="1051" y="704"/>
                  <a:pt x="1050" y="702"/>
                  <a:pt x="1049" y="700"/>
                </a:cubicBezTo>
                <a:cubicBezTo>
                  <a:pt x="1049" y="700"/>
                  <a:pt x="1049" y="700"/>
                  <a:pt x="1049" y="700"/>
                </a:cubicBezTo>
                <a:cubicBezTo>
                  <a:pt x="1048" y="699"/>
                  <a:pt x="1047" y="697"/>
                  <a:pt x="1046" y="695"/>
                </a:cubicBezTo>
                <a:cubicBezTo>
                  <a:pt x="1046" y="695"/>
                  <a:pt x="1046" y="695"/>
                  <a:pt x="1046" y="695"/>
                </a:cubicBezTo>
                <a:cubicBezTo>
                  <a:pt x="1045" y="693"/>
                  <a:pt x="1043" y="692"/>
                  <a:pt x="1042" y="690"/>
                </a:cubicBezTo>
                <a:cubicBezTo>
                  <a:pt x="1042" y="690"/>
                  <a:pt x="1042" y="690"/>
                  <a:pt x="1042" y="690"/>
                </a:cubicBezTo>
                <a:cubicBezTo>
                  <a:pt x="1041" y="688"/>
                  <a:pt x="1040" y="686"/>
                  <a:pt x="1039" y="685"/>
                </a:cubicBezTo>
                <a:cubicBezTo>
                  <a:pt x="1039" y="685"/>
                  <a:pt x="1039" y="685"/>
                  <a:pt x="1039" y="685"/>
                </a:cubicBezTo>
                <a:cubicBezTo>
                  <a:pt x="1037" y="683"/>
                  <a:pt x="1036" y="681"/>
                  <a:pt x="1035" y="680"/>
                </a:cubicBezTo>
                <a:cubicBezTo>
                  <a:pt x="1035" y="680"/>
                  <a:pt x="1035" y="680"/>
                  <a:pt x="1035" y="680"/>
                </a:cubicBezTo>
                <a:cubicBezTo>
                  <a:pt x="1034" y="678"/>
                  <a:pt x="1033" y="676"/>
                  <a:pt x="1031" y="675"/>
                </a:cubicBezTo>
                <a:cubicBezTo>
                  <a:pt x="1031" y="675"/>
                  <a:pt x="1031" y="675"/>
                  <a:pt x="1031" y="675"/>
                </a:cubicBezTo>
                <a:cubicBezTo>
                  <a:pt x="1030" y="673"/>
                  <a:pt x="1029" y="671"/>
                  <a:pt x="1027" y="670"/>
                </a:cubicBezTo>
                <a:cubicBezTo>
                  <a:pt x="1027" y="670"/>
                  <a:pt x="1027" y="670"/>
                  <a:pt x="1027" y="670"/>
                </a:cubicBezTo>
                <a:cubicBezTo>
                  <a:pt x="1026" y="668"/>
                  <a:pt x="1025" y="666"/>
                  <a:pt x="1023" y="665"/>
                </a:cubicBezTo>
                <a:cubicBezTo>
                  <a:pt x="1023" y="665"/>
                  <a:pt x="1023" y="665"/>
                  <a:pt x="1023" y="665"/>
                </a:cubicBezTo>
                <a:cubicBezTo>
                  <a:pt x="1022" y="663"/>
                  <a:pt x="1020" y="662"/>
                  <a:pt x="1019" y="660"/>
                </a:cubicBezTo>
                <a:cubicBezTo>
                  <a:pt x="1019" y="660"/>
                  <a:pt x="1019" y="660"/>
                  <a:pt x="1019" y="660"/>
                </a:cubicBezTo>
                <a:cubicBezTo>
                  <a:pt x="1018" y="658"/>
                  <a:pt x="1016" y="657"/>
                  <a:pt x="1015" y="655"/>
                </a:cubicBezTo>
                <a:cubicBezTo>
                  <a:pt x="1015" y="655"/>
                  <a:pt x="1015" y="655"/>
                  <a:pt x="1015" y="655"/>
                </a:cubicBezTo>
                <a:cubicBezTo>
                  <a:pt x="1013" y="654"/>
                  <a:pt x="1012" y="652"/>
                  <a:pt x="1010" y="651"/>
                </a:cubicBezTo>
                <a:cubicBezTo>
                  <a:pt x="1010" y="651"/>
                  <a:pt x="1010" y="651"/>
                  <a:pt x="1010" y="651"/>
                </a:cubicBezTo>
                <a:cubicBezTo>
                  <a:pt x="1010" y="651"/>
                  <a:pt x="1010" y="651"/>
                  <a:pt x="1010" y="651"/>
                </a:cubicBezTo>
                <a:cubicBezTo>
                  <a:pt x="1008" y="649"/>
                  <a:pt x="1006" y="647"/>
                  <a:pt x="1004" y="645"/>
                </a:cubicBezTo>
                <a:cubicBezTo>
                  <a:pt x="1004" y="644"/>
                  <a:pt x="1003" y="644"/>
                  <a:pt x="1003" y="643"/>
                </a:cubicBezTo>
                <a:cubicBezTo>
                  <a:pt x="1001" y="642"/>
                  <a:pt x="1000" y="641"/>
                  <a:pt x="999" y="640"/>
                </a:cubicBezTo>
                <a:cubicBezTo>
                  <a:pt x="932" y="580"/>
                  <a:pt x="859" y="577"/>
                  <a:pt x="780" y="547"/>
                </a:cubicBezTo>
                <a:close/>
              </a:path>
            </a:pathLst>
          </a:custGeom>
          <a:solidFill>
            <a:schemeClr val="accent1">
              <a:lumMod val="100000"/>
            </a:schemeClr>
          </a:solidFill>
          <a:ln>
            <a:noFill/>
          </a:ln>
          <a:effectLst/>
        </p:spPr>
        <p:txBody>
          <a:bodyPr vert="horz" wrap="square" lIns="42863" tIns="21431" rIns="42863" bIns="21431" numCol="1" anchor="t" anchorCtr="0" compatLnSpc="1">
            <a:prstTxWarp prst="textNoShape">
              <a:avLst/>
            </a:prstTxWarp>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685783">
              <a:defRPr/>
            </a:pPr>
            <a:endParaRPr lang="en-US" sz="1013" b="1">
              <a:solidFill>
                <a:prstClr val="black"/>
              </a:solidFill>
              <a:latin typeface="Franklin Gothic Book" panose="020B0503020102020204"/>
            </a:endParaRPr>
          </a:p>
        </p:txBody>
      </p:sp>
      <p:sp>
        <p:nvSpPr>
          <p:cNvPr id="14" name="Shape3_20220715_174440">
            <a:extLst>
              <a:ext uri="{FF2B5EF4-FFF2-40B4-BE49-F238E27FC236}">
                <a16:creationId xmlns:a16="http://schemas.microsoft.com/office/drawing/2014/main" id="{018A7E80-AFCE-4B84-B036-1514F1AB5979}"/>
              </a:ext>
            </a:extLst>
          </p:cNvPr>
          <p:cNvSpPr/>
          <p:nvPr>
            <p:custDataLst>
              <p:tags r:id="rId32"/>
            </p:custDataLst>
          </p:nvPr>
        </p:nvSpPr>
        <p:spPr>
          <a:xfrm>
            <a:off x="3070385" y="2875461"/>
            <a:ext cx="594471" cy="593069"/>
          </a:xfrm>
          <a:custGeom>
            <a:avLst/>
            <a:gdLst>
              <a:gd name="T0" fmla="*/ 397 w 483"/>
              <a:gd name="T1" fmla="*/ 86 h 483"/>
              <a:gd name="T2" fmla="*/ 86 w 483"/>
              <a:gd name="T3" fmla="*/ 86 h 483"/>
              <a:gd name="T4" fmla="*/ 86 w 483"/>
              <a:gd name="T5" fmla="*/ 397 h 483"/>
              <a:gd name="T6" fmla="*/ 397 w 483"/>
              <a:gd name="T7" fmla="*/ 397 h 483"/>
              <a:gd name="T8" fmla="*/ 397 w 483"/>
              <a:gd name="T9" fmla="*/ 86 h 483"/>
            </a:gdLst>
            <a:ahLst/>
            <a:cxnLst>
              <a:cxn ang="0">
                <a:pos x="T0" y="T1"/>
              </a:cxn>
              <a:cxn ang="0">
                <a:pos x="T2" y="T3"/>
              </a:cxn>
              <a:cxn ang="0">
                <a:pos x="T4" y="T5"/>
              </a:cxn>
              <a:cxn ang="0">
                <a:pos x="T6" y="T7"/>
              </a:cxn>
              <a:cxn ang="0">
                <a:pos x="T8" y="T9"/>
              </a:cxn>
            </a:cxnLst>
            <a:rect l="0" t="0" r="r" b="b"/>
            <a:pathLst>
              <a:path w="482" h="482">
                <a:moveTo>
                  <a:pt x="397" y="86"/>
                </a:moveTo>
                <a:cubicBezTo>
                  <a:pt x="311" y="0"/>
                  <a:pt x="172" y="0"/>
                  <a:pt x="86" y="86"/>
                </a:cubicBezTo>
                <a:cubicBezTo>
                  <a:pt x="0" y="172"/>
                  <a:pt x="0" y="311"/>
                  <a:pt x="86" y="397"/>
                </a:cubicBezTo>
                <a:cubicBezTo>
                  <a:pt x="172" y="483"/>
                  <a:pt x="311" y="483"/>
                  <a:pt x="397" y="397"/>
                </a:cubicBezTo>
                <a:cubicBezTo>
                  <a:pt x="483" y="311"/>
                  <a:pt x="483" y="172"/>
                  <a:pt x="397" y="86"/>
                </a:cubicBezTo>
                <a:close/>
              </a:path>
            </a:pathLst>
          </a:custGeom>
          <a:solidFill>
            <a:srgbClr val="FEFEFE"/>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42863" tIns="21431" rIns="42863" bIns="21431" numCol="1" anchor="ctr" anchorCtr="0" compatLnSpc="1">
            <a:prstTxWarp prst="textNoShape">
              <a:avLst/>
            </a:prstTxWarp>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137147" indent="-137147" algn="ctr" defTabSz="685783">
              <a:defRPr/>
            </a:pPr>
            <a:r>
              <a:rPr lang="en-US" sz="1050" b="1">
                <a:solidFill>
                  <a:prstClr val="black"/>
                </a:solidFill>
                <a:latin typeface="Century Gothic" panose="020B0502020202020204" pitchFamily="34" charset="0"/>
              </a:rPr>
              <a:t>07</a:t>
            </a:r>
          </a:p>
        </p:txBody>
      </p:sp>
      <p:sp>
        <p:nvSpPr>
          <p:cNvPr id="15" name="Shape4_20220715_174440">
            <a:extLst>
              <a:ext uri="{FF2B5EF4-FFF2-40B4-BE49-F238E27FC236}">
                <a16:creationId xmlns:a16="http://schemas.microsoft.com/office/drawing/2014/main" id="{B2C3733A-B511-49AF-9977-D0D6913DB592}"/>
              </a:ext>
            </a:extLst>
          </p:cNvPr>
          <p:cNvSpPr>
            <a:spLocks noChangeArrowheads="1"/>
          </p:cNvSpPr>
          <p:nvPr>
            <p:custDataLst>
              <p:tags r:id="rId33"/>
            </p:custDataLst>
          </p:nvPr>
        </p:nvSpPr>
        <p:spPr>
          <a:xfrm>
            <a:off x="3798365" y="3596417"/>
            <a:ext cx="542477" cy="541067"/>
          </a:xfrm>
          <a:prstGeom prst="ellipse">
            <a:avLst/>
          </a:prstGeom>
          <a:solidFill>
            <a:srgbClr val="FEFEFE"/>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42863" tIns="21431" rIns="42863" bIns="21431" numCol="1" anchor="ctr" anchorCtr="0" compatLnSpc="1">
            <a:prstTxWarp prst="textNoShape">
              <a:avLst/>
            </a:prstTxWarp>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137147" indent="-137147" algn="ctr" defTabSz="685783">
              <a:defRPr/>
            </a:pPr>
            <a:r>
              <a:rPr lang="en-US" sz="1050" b="1">
                <a:solidFill>
                  <a:prstClr val="black"/>
                </a:solidFill>
                <a:latin typeface="Century Gothic" panose="020B0502020202020204" pitchFamily="34" charset="0"/>
              </a:rPr>
              <a:t>06</a:t>
            </a:r>
          </a:p>
        </p:txBody>
      </p:sp>
      <p:sp>
        <p:nvSpPr>
          <p:cNvPr id="17" name="Shape5_20220715_174440">
            <a:extLst>
              <a:ext uri="{FF2B5EF4-FFF2-40B4-BE49-F238E27FC236}">
                <a16:creationId xmlns:a16="http://schemas.microsoft.com/office/drawing/2014/main" id="{D0A26609-88AB-40A1-B451-79D861F7AFE3}"/>
              </a:ext>
            </a:extLst>
          </p:cNvPr>
          <p:cNvSpPr>
            <a:spLocks noChangeArrowheads="1"/>
          </p:cNvSpPr>
          <p:nvPr>
            <p:custDataLst>
              <p:tags r:id="rId34"/>
            </p:custDataLst>
          </p:nvPr>
        </p:nvSpPr>
        <p:spPr>
          <a:xfrm>
            <a:off x="4776505" y="1221341"/>
            <a:ext cx="541067" cy="541067"/>
          </a:xfrm>
          <a:prstGeom prst="ellipse">
            <a:avLst/>
          </a:prstGeom>
          <a:solidFill>
            <a:srgbClr val="FEFEFE"/>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42863" tIns="21431" rIns="42863" bIns="21431" numCol="1" anchor="ctr" anchorCtr="0" compatLnSpc="1">
            <a:prstTxWarp prst="textNoShape">
              <a:avLst/>
            </a:prstTxWarp>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137147" indent="-137147" algn="ctr" defTabSz="685783">
              <a:defRPr/>
            </a:pPr>
            <a:r>
              <a:rPr lang="en-US" sz="1050" b="1">
                <a:solidFill>
                  <a:prstClr val="black"/>
                </a:solidFill>
                <a:latin typeface="Century Gothic" panose="020B0502020202020204" pitchFamily="34" charset="0"/>
              </a:rPr>
              <a:t>02</a:t>
            </a:r>
          </a:p>
        </p:txBody>
      </p:sp>
      <p:sp>
        <p:nvSpPr>
          <p:cNvPr id="18" name="Shape0_20220715_174440">
            <a:extLst>
              <a:ext uri="{FF2B5EF4-FFF2-40B4-BE49-F238E27FC236}">
                <a16:creationId xmlns:a16="http://schemas.microsoft.com/office/drawing/2014/main" id="{2BB45D19-4B10-4901-8E64-CAE0F89C23FB}"/>
              </a:ext>
            </a:extLst>
          </p:cNvPr>
          <p:cNvSpPr>
            <a:spLocks noChangeArrowheads="1"/>
          </p:cNvSpPr>
          <p:nvPr>
            <p:custDataLst>
              <p:tags r:id="rId35"/>
            </p:custDataLst>
          </p:nvPr>
        </p:nvSpPr>
        <p:spPr>
          <a:xfrm>
            <a:off x="5473569" y="1915594"/>
            <a:ext cx="541067" cy="542477"/>
          </a:xfrm>
          <a:prstGeom prst="ellipse">
            <a:avLst/>
          </a:prstGeom>
          <a:solidFill>
            <a:srgbClr val="FEFEFE"/>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42863" tIns="21431" rIns="42863" bIns="21431" numCol="1" anchor="ctr" anchorCtr="0" compatLnSpc="1">
            <a:prstTxWarp prst="textNoShape">
              <a:avLst/>
            </a:prstTxWarp>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137147" indent="-137147" algn="ctr" defTabSz="685783">
              <a:defRPr/>
            </a:pPr>
            <a:r>
              <a:rPr lang="en-US" sz="1050" b="1">
                <a:solidFill>
                  <a:prstClr val="black"/>
                </a:solidFill>
                <a:latin typeface="Century Gothic" panose="020B0502020202020204" pitchFamily="34" charset="0"/>
              </a:rPr>
              <a:t>03</a:t>
            </a:r>
          </a:p>
        </p:txBody>
      </p:sp>
      <p:sp>
        <p:nvSpPr>
          <p:cNvPr id="20" name="Shape6_20220715_174440">
            <a:extLst>
              <a:ext uri="{FF2B5EF4-FFF2-40B4-BE49-F238E27FC236}">
                <a16:creationId xmlns:a16="http://schemas.microsoft.com/office/drawing/2014/main" id="{CA713DFC-BB9D-4065-9D9E-92BB026C84A6}"/>
              </a:ext>
            </a:extLst>
          </p:cNvPr>
          <p:cNvSpPr>
            <a:spLocks noChangeArrowheads="1"/>
          </p:cNvSpPr>
          <p:nvPr>
            <p:custDataLst>
              <p:tags r:id="rId36"/>
            </p:custDataLst>
          </p:nvPr>
        </p:nvSpPr>
        <p:spPr>
          <a:xfrm>
            <a:off x="4776505" y="3596417"/>
            <a:ext cx="541067" cy="541067"/>
          </a:xfrm>
          <a:prstGeom prst="ellipse">
            <a:avLst/>
          </a:prstGeom>
          <a:solidFill>
            <a:srgbClr val="FEFEFE"/>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42863" tIns="21431" rIns="42863" bIns="21431" numCol="1" anchor="ctr" anchorCtr="0" compatLnSpc="1">
            <a:prstTxWarp prst="textNoShape">
              <a:avLst/>
            </a:prstTxWarp>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137147" indent="-137147" algn="ctr" defTabSz="685783">
              <a:defRPr/>
            </a:pPr>
            <a:r>
              <a:rPr lang="en-US" sz="1050" b="1">
                <a:solidFill>
                  <a:prstClr val="black"/>
                </a:solidFill>
                <a:latin typeface="Century Gothic" panose="020B0502020202020204" pitchFamily="34" charset="0"/>
              </a:rPr>
              <a:t>05</a:t>
            </a:r>
          </a:p>
        </p:txBody>
      </p:sp>
      <p:sp>
        <p:nvSpPr>
          <p:cNvPr id="21" name="Shape7_20220715_174440">
            <a:extLst>
              <a:ext uri="{FF2B5EF4-FFF2-40B4-BE49-F238E27FC236}">
                <a16:creationId xmlns:a16="http://schemas.microsoft.com/office/drawing/2014/main" id="{F22D6972-3CBE-4FDD-A0BE-48C286C1E6D7}"/>
              </a:ext>
            </a:extLst>
          </p:cNvPr>
          <p:cNvSpPr/>
          <p:nvPr>
            <p:custDataLst>
              <p:tags r:id="rId37"/>
            </p:custDataLst>
          </p:nvPr>
        </p:nvSpPr>
        <p:spPr>
          <a:xfrm>
            <a:off x="5447570" y="2875460"/>
            <a:ext cx="594471" cy="593069"/>
          </a:xfrm>
          <a:custGeom>
            <a:avLst/>
            <a:gdLst>
              <a:gd name="T0" fmla="*/ 397 w 483"/>
              <a:gd name="T1" fmla="*/ 86 h 483"/>
              <a:gd name="T2" fmla="*/ 86 w 483"/>
              <a:gd name="T3" fmla="*/ 86 h 483"/>
              <a:gd name="T4" fmla="*/ 86 w 483"/>
              <a:gd name="T5" fmla="*/ 397 h 483"/>
              <a:gd name="T6" fmla="*/ 397 w 483"/>
              <a:gd name="T7" fmla="*/ 397 h 483"/>
              <a:gd name="T8" fmla="*/ 397 w 483"/>
              <a:gd name="T9" fmla="*/ 86 h 483"/>
            </a:gdLst>
            <a:ahLst/>
            <a:cxnLst>
              <a:cxn ang="0">
                <a:pos x="T0" y="T1"/>
              </a:cxn>
              <a:cxn ang="0">
                <a:pos x="T2" y="T3"/>
              </a:cxn>
              <a:cxn ang="0">
                <a:pos x="T4" y="T5"/>
              </a:cxn>
              <a:cxn ang="0">
                <a:pos x="T6" y="T7"/>
              </a:cxn>
              <a:cxn ang="0">
                <a:pos x="T8" y="T9"/>
              </a:cxn>
            </a:cxnLst>
            <a:rect l="0" t="0" r="r" b="b"/>
            <a:pathLst>
              <a:path w="482" h="482">
                <a:moveTo>
                  <a:pt x="397" y="86"/>
                </a:moveTo>
                <a:cubicBezTo>
                  <a:pt x="311" y="0"/>
                  <a:pt x="172" y="0"/>
                  <a:pt x="86" y="86"/>
                </a:cubicBezTo>
                <a:cubicBezTo>
                  <a:pt x="0" y="172"/>
                  <a:pt x="0" y="311"/>
                  <a:pt x="86" y="397"/>
                </a:cubicBezTo>
                <a:cubicBezTo>
                  <a:pt x="172" y="483"/>
                  <a:pt x="311" y="483"/>
                  <a:pt x="397" y="397"/>
                </a:cubicBezTo>
                <a:cubicBezTo>
                  <a:pt x="483" y="311"/>
                  <a:pt x="483" y="172"/>
                  <a:pt x="397" y="86"/>
                </a:cubicBezTo>
                <a:close/>
              </a:path>
            </a:pathLst>
          </a:custGeom>
          <a:solidFill>
            <a:srgbClr val="FEFEFE"/>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42863" tIns="21431" rIns="42863" bIns="21431" numCol="1" anchor="ctr" anchorCtr="0" compatLnSpc="1">
            <a:prstTxWarp prst="textNoShape">
              <a:avLst/>
            </a:prstTxWarp>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137147" indent="-137147" algn="ctr" defTabSz="685783">
              <a:defRPr/>
            </a:pPr>
            <a:r>
              <a:rPr lang="en-US" sz="1050" b="1">
                <a:solidFill>
                  <a:prstClr val="black"/>
                </a:solidFill>
                <a:latin typeface="Century Gothic" panose="020B0502020202020204" pitchFamily="34" charset="0"/>
              </a:rPr>
              <a:t>04</a:t>
            </a:r>
          </a:p>
        </p:txBody>
      </p:sp>
      <p:sp>
        <p:nvSpPr>
          <p:cNvPr id="33" name="Slide Number Placeholder 32">
            <a:extLst>
              <a:ext uri="{FF2B5EF4-FFF2-40B4-BE49-F238E27FC236}">
                <a16:creationId xmlns:a16="http://schemas.microsoft.com/office/drawing/2014/main" id="{5424E5B7-BFC8-499B-A172-D3A465EF7F02}"/>
              </a:ext>
            </a:extLst>
          </p:cNvPr>
          <p:cNvSpPr>
            <a:spLocks noGrp="1"/>
          </p:cNvSpPr>
          <p:nvPr>
            <p:ph type="sldNum" sz="quarter" idx="12"/>
          </p:nvPr>
        </p:nvSpPr>
        <p:spPr/>
        <p:txBody>
          <a:bodyPr/>
          <a:lstStyle>
            <a:defPPr>
              <a:defRPr lang="en-US"/>
            </a:defPPr>
            <a:lvl1pPr marL="0" algn="l" defTabSz="514337" rtl="0" eaLnBrk="1" latinLnBrk="0" hangingPunct="1">
              <a:defRPr sz="1013" kern="1200">
                <a:solidFill>
                  <a:schemeClr val="tx1"/>
                </a:solidFill>
                <a:latin typeface="+mn-lt"/>
                <a:ea typeface="+mn-ea"/>
                <a:cs typeface="+mn-cs"/>
              </a:defRPr>
            </a:lvl1pPr>
            <a:lvl2pPr marL="257168" algn="l" defTabSz="514337" rtl="0" eaLnBrk="1" latinLnBrk="0" hangingPunct="1">
              <a:defRPr sz="1013" kern="1200">
                <a:solidFill>
                  <a:schemeClr val="tx1"/>
                </a:solidFill>
                <a:latin typeface="+mn-lt"/>
                <a:ea typeface="+mn-ea"/>
                <a:cs typeface="+mn-cs"/>
              </a:defRPr>
            </a:lvl2pPr>
            <a:lvl3pPr marL="514337" algn="l" defTabSz="514337" rtl="0" eaLnBrk="1" latinLnBrk="0" hangingPunct="1">
              <a:defRPr sz="1013" kern="1200">
                <a:solidFill>
                  <a:schemeClr val="tx1"/>
                </a:solidFill>
                <a:latin typeface="+mn-lt"/>
                <a:ea typeface="+mn-ea"/>
                <a:cs typeface="+mn-cs"/>
              </a:defRPr>
            </a:lvl3pPr>
            <a:lvl4pPr marL="771506" algn="l" defTabSz="514337" rtl="0" eaLnBrk="1" latinLnBrk="0" hangingPunct="1">
              <a:defRPr sz="1013" kern="1200">
                <a:solidFill>
                  <a:schemeClr val="tx1"/>
                </a:solidFill>
                <a:latin typeface="+mn-lt"/>
                <a:ea typeface="+mn-ea"/>
                <a:cs typeface="+mn-cs"/>
              </a:defRPr>
            </a:lvl4pPr>
            <a:lvl5pPr marL="1028675" algn="l" defTabSz="514337" rtl="0" eaLnBrk="1" latinLnBrk="0" hangingPunct="1">
              <a:defRPr sz="1013" kern="1200">
                <a:solidFill>
                  <a:schemeClr val="tx1"/>
                </a:solidFill>
                <a:latin typeface="+mn-lt"/>
                <a:ea typeface="+mn-ea"/>
                <a:cs typeface="+mn-cs"/>
              </a:defRPr>
            </a:lvl5pPr>
            <a:lvl6pPr marL="1285843" algn="l" defTabSz="514337" rtl="0" eaLnBrk="1" latinLnBrk="0" hangingPunct="1">
              <a:defRPr sz="1013" kern="1200">
                <a:solidFill>
                  <a:schemeClr val="tx1"/>
                </a:solidFill>
                <a:latin typeface="+mn-lt"/>
                <a:ea typeface="+mn-ea"/>
                <a:cs typeface="+mn-cs"/>
              </a:defRPr>
            </a:lvl6pPr>
            <a:lvl7pPr marL="1543012" algn="l" defTabSz="514337" rtl="0" eaLnBrk="1" latinLnBrk="0" hangingPunct="1">
              <a:defRPr sz="1013" kern="1200">
                <a:solidFill>
                  <a:schemeClr val="tx1"/>
                </a:solidFill>
                <a:latin typeface="+mn-lt"/>
                <a:ea typeface="+mn-ea"/>
                <a:cs typeface="+mn-cs"/>
              </a:defRPr>
            </a:lvl7pPr>
            <a:lvl8pPr marL="1800180" algn="l" defTabSz="514337" rtl="0" eaLnBrk="1" latinLnBrk="0" hangingPunct="1">
              <a:defRPr sz="1013" kern="1200">
                <a:solidFill>
                  <a:schemeClr val="tx1"/>
                </a:solidFill>
                <a:latin typeface="+mn-lt"/>
                <a:ea typeface="+mn-ea"/>
                <a:cs typeface="+mn-cs"/>
              </a:defRPr>
            </a:lvl8pPr>
            <a:lvl9pPr marL="2057348" algn="l" defTabSz="514337" rtl="0" eaLnBrk="1" latinLnBrk="0" hangingPunct="1">
              <a:defRPr sz="1013" kern="1200">
                <a:solidFill>
                  <a:schemeClr val="tx1"/>
                </a:solidFill>
                <a:latin typeface="+mn-lt"/>
                <a:ea typeface="+mn-ea"/>
                <a:cs typeface="+mn-cs"/>
              </a:defRPr>
            </a:lvl9pPr>
          </a:lstStyle>
          <a:p>
            <a:fld id="{6F896B4A-66F4-420A-A099-F174BF1A0A20}" type="slidenum">
              <a:rPr lang="en-US">
                <a:solidFill>
                  <a:prstClr val="black"/>
                </a:solidFill>
                <a:latin typeface="Franklin Gothic Book" panose="020B0503020102020204"/>
              </a:rPr>
              <a:pPr/>
              <a:t>17</a:t>
            </a:fld>
            <a:endParaRPr lang="en-US">
              <a:solidFill>
                <a:prstClr val="black"/>
              </a:solidFill>
              <a:latin typeface="Franklin Gothic Book" panose="020B0503020102020204"/>
            </a:endParaRPr>
          </a:p>
        </p:txBody>
      </p:sp>
      <p:pic>
        <p:nvPicPr>
          <p:cNvPr id="30" name="Graphic 29" descr="Body builder outline">
            <a:extLst>
              <a:ext uri="{FF2B5EF4-FFF2-40B4-BE49-F238E27FC236}">
                <a16:creationId xmlns:a16="http://schemas.microsoft.com/office/drawing/2014/main" id="{4E460AE9-8659-8857-CEA9-7645B3CEF794}"/>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4229100" y="2228850"/>
            <a:ext cx="685800" cy="685800"/>
          </a:xfrm>
          <a:prstGeom prst="rect">
            <a:avLst/>
          </a:prstGeom>
        </p:spPr>
      </p:pic>
    </p:spTree>
    <p:custDataLst>
      <p:tags r:id="rId1"/>
    </p:custDataLst>
    <p:extLst>
      <p:ext uri="{BB962C8B-B14F-4D97-AF65-F5344CB8AC3E}">
        <p14:creationId xmlns:p14="http://schemas.microsoft.com/office/powerpoint/2010/main" val="42143679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83803F-6107-4B4A-A3F7-765DF14B5D2E}"/>
              </a:ext>
            </a:extLst>
          </p:cNvPr>
          <p:cNvSpPr>
            <a:spLocks noGrp="1"/>
          </p:cNvSpPr>
          <p:nvPr>
            <p:ph type="title"/>
            <p:custDataLst>
              <p:tags r:id="rId2"/>
            </p:custDataLst>
          </p:nvPr>
        </p:nvSpPr>
        <p:spPr>
          <a:xfrm>
            <a:off x="752710" y="493221"/>
            <a:ext cx="7619238" cy="384048"/>
          </a:xfrm>
        </p:spPr>
        <p:txBody>
          <a:bodyP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800">
                <a:solidFill>
                  <a:srgbClr val="00B050"/>
                </a:solidFill>
              </a:rPr>
              <a:t>Case Studies and Examples</a:t>
            </a:r>
          </a:p>
        </p:txBody>
      </p:sp>
      <p:sp>
        <p:nvSpPr>
          <p:cNvPr id="163" name="Isosceles Triangle 162">
            <a:extLst>
              <a:ext uri="{FF2B5EF4-FFF2-40B4-BE49-F238E27FC236}">
                <a16:creationId xmlns:a16="http://schemas.microsoft.com/office/drawing/2014/main" id="{F2FC56C4-D601-4DD0-B4B9-EB4C58CED142}"/>
              </a:ext>
            </a:extLst>
          </p:cNvPr>
          <p:cNvSpPr/>
          <p:nvPr>
            <p:custDataLst>
              <p:tags r:id="rId3"/>
            </p:custDataLst>
          </p:nvPr>
        </p:nvSpPr>
        <p:spPr>
          <a:xfrm rot="12576848">
            <a:off x="7010531" y="3580162"/>
            <a:ext cx="430137" cy="431000"/>
          </a:xfrm>
          <a:prstGeom prst="triangle">
            <a:avLst/>
          </a:prstGeom>
          <a:solidFill>
            <a:srgbClr val="C8AB9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672035">
              <a:defRPr/>
            </a:pPr>
            <a:endParaRPr lang="en-US" sz="1013">
              <a:solidFill>
                <a:srgbClr val="000000"/>
              </a:solidFill>
              <a:ea typeface="ＭＳ Ｐゴシック" charset="0"/>
            </a:endParaRPr>
          </a:p>
        </p:txBody>
      </p:sp>
      <p:grpSp>
        <p:nvGrpSpPr>
          <p:cNvPr id="3" name="Group 2">
            <a:extLst>
              <a:ext uri="{FF2B5EF4-FFF2-40B4-BE49-F238E27FC236}">
                <a16:creationId xmlns:a16="http://schemas.microsoft.com/office/drawing/2014/main" id="{BA73C63D-2823-46DD-96B8-BC36C61EB30F}"/>
              </a:ext>
            </a:extLst>
          </p:cNvPr>
          <p:cNvGrpSpPr/>
          <p:nvPr/>
        </p:nvGrpSpPr>
        <p:grpSpPr>
          <a:xfrm>
            <a:off x="7099942" y="1544315"/>
            <a:ext cx="1489208" cy="2446146"/>
            <a:chOff x="9466589" y="2059086"/>
            <a:chExt cx="1985611" cy="3261528"/>
          </a:xfrm>
        </p:grpSpPr>
        <p:sp>
          <p:nvSpPr>
            <p:cNvPr id="159" name="Cylinder 158">
              <a:extLst>
                <a:ext uri="{FF2B5EF4-FFF2-40B4-BE49-F238E27FC236}">
                  <a16:creationId xmlns:a16="http://schemas.microsoft.com/office/drawing/2014/main" id="{AD6EEABE-54AA-4A54-B4A0-DEA8326274F6}"/>
                </a:ext>
              </a:extLst>
            </p:cNvPr>
            <p:cNvSpPr/>
            <p:nvPr>
              <p:custDataLst>
                <p:tags r:id="rId16"/>
              </p:custDataLst>
            </p:nvPr>
          </p:nvSpPr>
          <p:spPr>
            <a:xfrm rot="1851626">
              <a:off x="9648963" y="4159404"/>
              <a:ext cx="570183" cy="764304"/>
            </a:xfrm>
            <a:prstGeom prst="can">
              <a:avLst/>
            </a:prstGeom>
            <a:solidFill>
              <a:schemeClr val="accent2">
                <a:lumMod val="10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11" tIns="33605" rIns="67211" bIns="33605" numCol="1" spcCol="0" rtlCol="0" fromWordArt="0" anchor="ctr" anchorCtr="0" forceAA="0" compatLnSpc="1">
              <a:prstTxWarp prst="textNoShape">
                <a:avLst/>
              </a:prstTxWarp>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672035">
                <a:defRPr/>
              </a:pPr>
              <a:endParaRPr lang="en-US" sz="1013">
                <a:solidFill>
                  <a:srgbClr val="000000"/>
                </a:solidFill>
                <a:ea typeface="ＭＳ Ｐゴシック" charset="0"/>
              </a:endParaRPr>
            </a:p>
          </p:txBody>
        </p:sp>
        <p:sp>
          <p:nvSpPr>
            <p:cNvPr id="160" name="Cylinder 159">
              <a:extLst>
                <a:ext uri="{FF2B5EF4-FFF2-40B4-BE49-F238E27FC236}">
                  <a16:creationId xmlns:a16="http://schemas.microsoft.com/office/drawing/2014/main" id="{F7E7665F-749E-4E19-9A0D-912F2CE44CD4}"/>
                </a:ext>
              </a:extLst>
            </p:cNvPr>
            <p:cNvSpPr/>
            <p:nvPr>
              <p:custDataLst>
                <p:tags r:id="rId17"/>
              </p:custDataLst>
            </p:nvPr>
          </p:nvSpPr>
          <p:spPr>
            <a:xfrm rot="1851626">
              <a:off x="10026961" y="3386554"/>
              <a:ext cx="570183" cy="1028061"/>
            </a:xfrm>
            <a:prstGeom prst="can">
              <a:avLst/>
            </a:prstGeom>
            <a:solidFill>
              <a:schemeClr val="accent2">
                <a:lumMod val="10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11" tIns="33605" rIns="67211" bIns="33605" numCol="1" spcCol="0" rtlCol="0" fromWordArt="0" anchor="ctr" anchorCtr="0" forceAA="0" compatLnSpc="1">
              <a:prstTxWarp prst="textNoShape">
                <a:avLst/>
              </a:prstTxWarp>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672035">
                <a:defRPr/>
              </a:pPr>
              <a:endParaRPr lang="en-US" sz="1013">
                <a:solidFill>
                  <a:srgbClr val="000000"/>
                </a:solidFill>
                <a:ea typeface="ＭＳ Ｐゴシック" charset="0"/>
              </a:endParaRPr>
            </a:p>
          </p:txBody>
        </p:sp>
        <p:sp>
          <p:nvSpPr>
            <p:cNvPr id="162" name="Cylinder 161">
              <a:extLst>
                <a:ext uri="{FF2B5EF4-FFF2-40B4-BE49-F238E27FC236}">
                  <a16:creationId xmlns:a16="http://schemas.microsoft.com/office/drawing/2014/main" id="{4AE23C4D-67FF-44F4-9651-137058A425CD}"/>
                </a:ext>
              </a:extLst>
            </p:cNvPr>
            <p:cNvSpPr/>
            <p:nvPr>
              <p:custDataLst>
                <p:tags r:id="rId18"/>
              </p:custDataLst>
            </p:nvPr>
          </p:nvSpPr>
          <p:spPr>
            <a:xfrm rot="1851626">
              <a:off x="10477202" y="2539509"/>
              <a:ext cx="570183" cy="1191008"/>
            </a:xfrm>
            <a:prstGeom prst="can">
              <a:avLst/>
            </a:prstGeom>
            <a:solidFill>
              <a:schemeClr val="accent1">
                <a:lumMod val="10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11" tIns="33605" rIns="67211" bIns="33605" numCol="1" spcCol="0" rtlCol="0" fromWordArt="0" anchor="ctr" anchorCtr="0" forceAA="0" compatLnSpc="1">
              <a:prstTxWarp prst="textNoShape">
                <a:avLst/>
              </a:prstTxWarp>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672035">
                <a:defRPr/>
              </a:pPr>
              <a:endParaRPr lang="en-US" sz="1013">
                <a:solidFill>
                  <a:srgbClr val="000000"/>
                </a:solidFill>
                <a:ea typeface="ＭＳ Ｐゴシック" charset="0"/>
              </a:endParaRPr>
            </a:p>
          </p:txBody>
        </p:sp>
        <p:sp>
          <p:nvSpPr>
            <p:cNvPr id="164" name="Isosceles Triangle 163">
              <a:extLst>
                <a:ext uri="{FF2B5EF4-FFF2-40B4-BE49-F238E27FC236}">
                  <a16:creationId xmlns:a16="http://schemas.microsoft.com/office/drawing/2014/main" id="{C0C3C8CB-E724-4174-902F-D73AB00666D8}"/>
                </a:ext>
              </a:extLst>
            </p:cNvPr>
            <p:cNvSpPr/>
            <p:nvPr>
              <p:custDataLst>
                <p:tags r:id="rId19"/>
              </p:custDataLst>
            </p:nvPr>
          </p:nvSpPr>
          <p:spPr>
            <a:xfrm rot="12535067">
              <a:off x="9466589" y="5207912"/>
              <a:ext cx="110507" cy="112702"/>
            </a:xfrm>
            <a:prstGeom prst="triangl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672035">
                <a:defRPr/>
              </a:pPr>
              <a:endParaRPr lang="en-US" sz="1013">
                <a:solidFill>
                  <a:srgbClr val="000000"/>
                </a:solidFill>
                <a:ea typeface="ＭＳ Ｐゴシック" charset="0"/>
              </a:endParaRPr>
            </a:p>
          </p:txBody>
        </p:sp>
        <p:sp>
          <p:nvSpPr>
            <p:cNvPr id="165" name="Cylinder 164">
              <a:extLst>
                <a:ext uri="{FF2B5EF4-FFF2-40B4-BE49-F238E27FC236}">
                  <a16:creationId xmlns:a16="http://schemas.microsoft.com/office/drawing/2014/main" id="{51C11938-469B-4778-A959-25FB8E510DEB}"/>
                </a:ext>
              </a:extLst>
            </p:cNvPr>
            <p:cNvSpPr/>
            <p:nvPr>
              <p:custDataLst>
                <p:tags r:id="rId20"/>
              </p:custDataLst>
            </p:nvPr>
          </p:nvSpPr>
          <p:spPr>
            <a:xfrm rot="1851626">
              <a:off x="10882017" y="2059086"/>
              <a:ext cx="570183" cy="764302"/>
            </a:xfrm>
            <a:prstGeom prst="can">
              <a:avLst/>
            </a:prstGeom>
            <a:solidFill>
              <a:schemeClr val="accent1">
                <a:lumMod val="10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11" tIns="33605" rIns="67211" bIns="33605" numCol="1" spcCol="0" rtlCol="0" fromWordArt="0" anchor="ctr" anchorCtr="0" forceAA="0" compatLnSpc="1">
              <a:prstTxWarp prst="textNoShape">
                <a:avLst/>
              </a:prstTxWarp>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672035">
                <a:defRPr/>
              </a:pPr>
              <a:endParaRPr lang="en-US" sz="1013">
                <a:solidFill>
                  <a:srgbClr val="000000"/>
                </a:solidFill>
                <a:ea typeface="ＭＳ Ｐゴシック" charset="0"/>
              </a:endParaRPr>
            </a:p>
          </p:txBody>
        </p:sp>
      </p:grpSp>
      <p:sp>
        <p:nvSpPr>
          <p:cNvPr id="41" name="Rectangle 40">
            <a:extLst>
              <a:ext uri="{FF2B5EF4-FFF2-40B4-BE49-F238E27FC236}">
                <a16:creationId xmlns:a16="http://schemas.microsoft.com/office/drawing/2014/main" id="{14E8E57A-8529-4C5F-A982-A7BE9EB6BEBC}"/>
              </a:ext>
            </a:extLst>
          </p:cNvPr>
          <p:cNvSpPr/>
          <p:nvPr>
            <p:custDataLst>
              <p:tags r:id="rId4"/>
            </p:custDataLst>
          </p:nvPr>
        </p:nvSpPr>
        <p:spPr>
          <a:xfrm>
            <a:off x="485776" y="1816688"/>
            <a:ext cx="6471701" cy="449868"/>
          </a:xfrm>
          <a:prstGeom prst="rect">
            <a:avLst/>
          </a:prstGeom>
          <a:noFill/>
          <a:ln w="12700">
            <a:solidFill>
              <a:schemeClr val="accent1">
                <a:lumMod val="10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defRPr/>
            </a:pPr>
            <a:endParaRPr lang="en-IN" sz="1176">
              <a:solidFill>
                <a:srgbClr val="000000"/>
              </a:solidFill>
            </a:endParaRPr>
          </a:p>
        </p:txBody>
      </p:sp>
      <p:sp>
        <p:nvSpPr>
          <p:cNvPr id="42" name="Shape0_20210427_210005">
            <a:extLst>
              <a:ext uri="{FF2B5EF4-FFF2-40B4-BE49-F238E27FC236}">
                <a16:creationId xmlns:a16="http://schemas.microsoft.com/office/drawing/2014/main" id="{B930E8FC-3085-4377-827E-9249DF85DFD1}"/>
              </a:ext>
            </a:extLst>
          </p:cNvPr>
          <p:cNvSpPr>
            <a:spLocks noChangeArrowheads="1"/>
          </p:cNvSpPr>
          <p:nvPr>
            <p:custDataLst>
              <p:tags r:id="rId5"/>
            </p:custDataLst>
          </p:nvPr>
        </p:nvSpPr>
        <p:spPr>
          <a:xfrm>
            <a:off x="1103511" y="1950183"/>
            <a:ext cx="4701261" cy="182880"/>
          </a:xfrm>
          <a:prstGeom prst="rect">
            <a:avLst/>
          </a:prstGeom>
          <a:noFill/>
          <a:ln>
            <a:noFill/>
          </a:ln>
        </p:spPr>
        <p:txBody>
          <a:bodyPr wrap="square" lIns="0" tIns="0" rIns="0" bIns="0" anchor="ctr">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635" lvl="1" defTabSz="671391">
              <a:defRPr/>
            </a:pPr>
            <a:r>
              <a:rPr lang="en-US" sz="1200">
                <a:solidFill>
                  <a:schemeClr val="tx1">
                    <a:lumMod val="100000"/>
                  </a:schemeClr>
                </a:solidFill>
                <a:latin typeface="Century Gothic"/>
                <a:cs typeface="Helvetica"/>
              </a:rPr>
              <a:t>German company around for over 350 years</a:t>
            </a:r>
            <a:endParaRPr lang="en-US">
              <a:solidFill>
                <a:schemeClr val="tx1">
                  <a:lumMod val="100000"/>
                </a:schemeClr>
              </a:solidFill>
            </a:endParaRPr>
          </a:p>
        </p:txBody>
      </p:sp>
      <p:sp>
        <p:nvSpPr>
          <p:cNvPr id="43" name="TextBox 42">
            <a:extLst>
              <a:ext uri="{FF2B5EF4-FFF2-40B4-BE49-F238E27FC236}">
                <a16:creationId xmlns:a16="http://schemas.microsoft.com/office/drawing/2014/main" id="{A7FF3A52-20A4-4F08-8DCC-2B45AD1AF96C}"/>
              </a:ext>
            </a:extLst>
          </p:cNvPr>
          <p:cNvSpPr txBox="1"/>
          <p:nvPr>
            <p:custDataLst>
              <p:tags r:id="rId6"/>
            </p:custDataLst>
          </p:nvPr>
        </p:nvSpPr>
        <p:spPr>
          <a:xfrm>
            <a:off x="598101" y="1903120"/>
            <a:ext cx="397142" cy="276999"/>
          </a:xfrm>
          <a:prstGeom prst="rect">
            <a:avLst/>
          </a:prstGeom>
          <a:noFill/>
        </p:spPr>
        <p:txBody>
          <a:bodyPr wrap="square" rtlCol="0" anchor="ctr">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defRPr/>
            </a:pPr>
            <a:r>
              <a:rPr lang="en-US" sz="1200" b="1">
                <a:solidFill>
                  <a:schemeClr val="tx1">
                    <a:lumMod val="100000"/>
                  </a:schemeClr>
                </a:solidFill>
                <a:latin typeface="Century Gothic" panose="020B0502020202020204" pitchFamily="34" charset="0"/>
              </a:rPr>
              <a:t>01</a:t>
            </a:r>
            <a:endParaRPr lang="en-IN" sz="1200" b="1">
              <a:solidFill>
                <a:schemeClr val="tx1">
                  <a:lumMod val="100000"/>
                </a:schemeClr>
              </a:solidFill>
              <a:latin typeface="Century Gothic" panose="020B0502020202020204" pitchFamily="34" charset="0"/>
            </a:endParaRPr>
          </a:p>
        </p:txBody>
      </p:sp>
      <p:cxnSp>
        <p:nvCxnSpPr>
          <p:cNvPr id="44" name="Straight Connector 43">
            <a:extLst>
              <a:ext uri="{FF2B5EF4-FFF2-40B4-BE49-F238E27FC236}">
                <a16:creationId xmlns:a16="http://schemas.microsoft.com/office/drawing/2014/main" id="{1C2AC656-81D4-4484-9B6D-935F44F887B5}"/>
              </a:ext>
            </a:extLst>
          </p:cNvPr>
          <p:cNvCxnSpPr/>
          <p:nvPr>
            <p:custDataLst>
              <p:tags r:id="rId7"/>
            </p:custDataLst>
          </p:nvPr>
        </p:nvCxnSpPr>
        <p:spPr>
          <a:xfrm flipH="1">
            <a:off x="1033773" y="1865678"/>
            <a:ext cx="0" cy="351889"/>
          </a:xfrm>
          <a:prstGeom prst="line">
            <a:avLst/>
          </a:prstGeom>
          <a:ln>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F093F753-271D-43B2-8088-732AD289846D}"/>
              </a:ext>
            </a:extLst>
          </p:cNvPr>
          <p:cNvSpPr/>
          <p:nvPr>
            <p:custDataLst>
              <p:tags r:id="rId8"/>
            </p:custDataLst>
          </p:nvPr>
        </p:nvSpPr>
        <p:spPr>
          <a:xfrm>
            <a:off x="6524377" y="1863672"/>
            <a:ext cx="404948" cy="355896"/>
          </a:xfrm>
          <a:prstGeom prst="rect">
            <a:avLst/>
          </a:prstGeom>
          <a:solidFill>
            <a:schemeClr val="accent1">
              <a:lumMod val="10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defRPr/>
            </a:pPr>
            <a:endParaRPr lang="en-IN" sz="1176">
              <a:solidFill>
                <a:schemeClr val="bg1"/>
              </a:solidFill>
            </a:endParaRPr>
          </a:p>
        </p:txBody>
      </p:sp>
      <p:sp>
        <p:nvSpPr>
          <p:cNvPr id="46" name="WordArt 5">
            <a:extLst>
              <a:ext uri="{FF2B5EF4-FFF2-40B4-BE49-F238E27FC236}">
                <a16:creationId xmlns:a16="http://schemas.microsoft.com/office/drawing/2014/main" id="{9DDD164D-7BA3-476C-BB62-07A1A7605C18}"/>
              </a:ext>
            </a:extLst>
          </p:cNvPr>
          <p:cNvSpPr>
            <a:spLocks noChangeArrowheads="1" noChangeShapeType="1" noTextEdit="1"/>
          </p:cNvSpPr>
          <p:nvPr>
            <p:custDataLst>
              <p:tags r:id="rId9"/>
            </p:custDataLst>
          </p:nvPr>
        </p:nvSpPr>
        <p:spPr>
          <a:xfrm>
            <a:off x="6631932" y="1936306"/>
            <a:ext cx="189837" cy="195257"/>
          </a:xfrm>
          <a:prstGeom prst="rect">
            <a:avLst/>
          </a:prstGeom>
          <a:extLst>
            <a:ext uri="{91240B29-F687-4F45-9708-019B960494DF}">
              <a14:hiddenLine xmlns:a14="http://schemas.microsoft.com/office/drawing/2010/main" w="9525">
                <a:solidFill>
                  <a:schemeClr val="tx2"/>
                </a:solidFill>
                <a:round/>
                <a:headEnd/>
                <a:tailEnd/>
              </a14:hiddenLine>
            </a:ext>
            <a:ext uri="{AF507438-7753-43E0-B8FC-AC1667EBCBE1}">
              <a14:hiddenEffects xmlns:a14="http://schemas.microsoft.com/office/drawing/2010/main">
                <a:effectLst/>
              </a14:hiddenEffects>
            </a:ext>
          </a:extLst>
        </p:spPr>
        <p:txBody>
          <a:bodyPr wrap="none" fromWordArt="1">
            <a:prstTxWarp prst="textPlain">
              <a:avLst>
                <a:gd name="adj" fmla="val 50000"/>
              </a:avLst>
            </a:prstTxWarp>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defRPr/>
            </a:pPr>
            <a:r>
              <a:rPr lang="en-US" sz="1200" kern="10">
                <a:solidFill>
                  <a:schemeClr val="bg1"/>
                </a:solidFill>
                <a:latin typeface="Century Gothic" panose="020B0502020202020204" pitchFamily="34" charset="0"/>
              </a:rPr>
              <a:t>✓</a:t>
            </a:r>
          </a:p>
        </p:txBody>
      </p:sp>
      <p:sp>
        <p:nvSpPr>
          <p:cNvPr id="49" name="Rectangle 48">
            <a:extLst>
              <a:ext uri="{FF2B5EF4-FFF2-40B4-BE49-F238E27FC236}">
                <a16:creationId xmlns:a16="http://schemas.microsoft.com/office/drawing/2014/main" id="{108E7133-06EB-4350-A708-4934CCA0CC1B}"/>
              </a:ext>
            </a:extLst>
          </p:cNvPr>
          <p:cNvSpPr/>
          <p:nvPr>
            <p:custDataLst>
              <p:tags r:id="rId10"/>
            </p:custDataLst>
          </p:nvPr>
        </p:nvSpPr>
        <p:spPr>
          <a:xfrm>
            <a:off x="485776" y="3068322"/>
            <a:ext cx="6471701" cy="449868"/>
          </a:xfrm>
          <a:prstGeom prst="rect">
            <a:avLst/>
          </a:prstGeom>
          <a:noFill/>
          <a:ln w="12700">
            <a:solidFill>
              <a:schemeClr val="accent2">
                <a:lumMod val="10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defRPr/>
            </a:pPr>
            <a:endParaRPr lang="en-IN" sz="1176">
              <a:solidFill>
                <a:srgbClr val="000000"/>
              </a:solidFill>
            </a:endParaRPr>
          </a:p>
        </p:txBody>
      </p:sp>
      <p:sp>
        <p:nvSpPr>
          <p:cNvPr id="50" name="Shape1_20210427_210005">
            <a:extLst>
              <a:ext uri="{FF2B5EF4-FFF2-40B4-BE49-F238E27FC236}">
                <a16:creationId xmlns:a16="http://schemas.microsoft.com/office/drawing/2014/main" id="{CA91724B-8FBB-4B60-8E9B-5ADD6708F4DA}"/>
              </a:ext>
            </a:extLst>
          </p:cNvPr>
          <p:cNvSpPr>
            <a:spLocks noChangeArrowheads="1"/>
          </p:cNvSpPr>
          <p:nvPr>
            <p:custDataLst>
              <p:tags r:id="rId11"/>
            </p:custDataLst>
          </p:nvPr>
        </p:nvSpPr>
        <p:spPr>
          <a:xfrm>
            <a:off x="1103511" y="3201820"/>
            <a:ext cx="4701261" cy="182880"/>
          </a:xfrm>
          <a:prstGeom prst="rect">
            <a:avLst/>
          </a:prstGeom>
          <a:noFill/>
          <a:ln>
            <a:noFill/>
          </a:ln>
        </p:spPr>
        <p:txBody>
          <a:bodyPr wrap="square" lIns="0" tIns="0" rIns="0" bIns="0" anchor="ctr">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635" lvl="1" defTabSz="671391">
              <a:defRPr/>
            </a:pPr>
            <a:r>
              <a:rPr lang="en-US" sz="1200">
                <a:solidFill>
                  <a:schemeClr val="tx1">
                    <a:lumMod val="100000"/>
                  </a:schemeClr>
                </a:solidFill>
                <a:latin typeface="Century Gothic"/>
                <a:cs typeface="Helvetica"/>
              </a:rPr>
              <a:t>Leading small-mid biotech @ Moderna</a:t>
            </a:r>
            <a:endParaRPr lang="en-US"/>
          </a:p>
        </p:txBody>
      </p:sp>
      <p:sp>
        <p:nvSpPr>
          <p:cNvPr id="51" name="TextBox 50">
            <a:extLst>
              <a:ext uri="{FF2B5EF4-FFF2-40B4-BE49-F238E27FC236}">
                <a16:creationId xmlns:a16="http://schemas.microsoft.com/office/drawing/2014/main" id="{672A49AA-DBE7-4782-AD48-C18511B58865}"/>
              </a:ext>
            </a:extLst>
          </p:cNvPr>
          <p:cNvSpPr txBox="1"/>
          <p:nvPr>
            <p:custDataLst>
              <p:tags r:id="rId12"/>
            </p:custDataLst>
          </p:nvPr>
        </p:nvSpPr>
        <p:spPr>
          <a:xfrm>
            <a:off x="598101" y="3154756"/>
            <a:ext cx="397142" cy="276999"/>
          </a:xfrm>
          <a:prstGeom prst="rect">
            <a:avLst/>
          </a:prstGeom>
          <a:noFill/>
        </p:spPr>
        <p:txBody>
          <a:bodyPr wrap="square" rtlCol="0" anchor="ctr">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defRPr/>
            </a:pPr>
            <a:r>
              <a:rPr lang="en-US" sz="1200" b="1">
                <a:solidFill>
                  <a:schemeClr val="tx1">
                    <a:lumMod val="100000"/>
                  </a:schemeClr>
                </a:solidFill>
                <a:latin typeface="Century Gothic" panose="020B0502020202020204" pitchFamily="34" charset="0"/>
              </a:rPr>
              <a:t>02</a:t>
            </a:r>
            <a:endParaRPr lang="en-IN" sz="1200" b="1">
              <a:solidFill>
                <a:schemeClr val="tx1">
                  <a:lumMod val="100000"/>
                </a:schemeClr>
              </a:solidFill>
              <a:latin typeface="Century Gothic" panose="020B0502020202020204" pitchFamily="34" charset="0"/>
            </a:endParaRPr>
          </a:p>
        </p:txBody>
      </p:sp>
      <p:cxnSp>
        <p:nvCxnSpPr>
          <p:cNvPr id="52" name="Straight Connector 51">
            <a:extLst>
              <a:ext uri="{FF2B5EF4-FFF2-40B4-BE49-F238E27FC236}">
                <a16:creationId xmlns:a16="http://schemas.microsoft.com/office/drawing/2014/main" id="{B554B53C-3084-4D5D-9E48-57303FEE4B9B}"/>
              </a:ext>
            </a:extLst>
          </p:cNvPr>
          <p:cNvCxnSpPr/>
          <p:nvPr>
            <p:custDataLst>
              <p:tags r:id="rId13"/>
            </p:custDataLst>
          </p:nvPr>
        </p:nvCxnSpPr>
        <p:spPr>
          <a:xfrm flipH="1">
            <a:off x="1033773" y="3117312"/>
            <a:ext cx="0" cy="351889"/>
          </a:xfrm>
          <a:prstGeom prst="line">
            <a:avLst/>
          </a:prstGeom>
          <a:ln>
            <a:solidFill>
              <a:schemeClr val="accent2">
                <a:lumMod val="100000"/>
              </a:schemeClr>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7F415DF9-D6AA-40FE-A788-F88F788FB521}"/>
              </a:ext>
            </a:extLst>
          </p:cNvPr>
          <p:cNvSpPr/>
          <p:nvPr>
            <p:custDataLst>
              <p:tags r:id="rId14"/>
            </p:custDataLst>
          </p:nvPr>
        </p:nvSpPr>
        <p:spPr>
          <a:xfrm>
            <a:off x="6524377" y="3115308"/>
            <a:ext cx="404948" cy="355896"/>
          </a:xfrm>
          <a:prstGeom prst="rect">
            <a:avLst/>
          </a:prstGeom>
          <a:solidFill>
            <a:schemeClr val="accent2">
              <a:lumMod val="10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defRPr/>
            </a:pPr>
            <a:endParaRPr lang="en-IN" sz="1176">
              <a:solidFill>
                <a:schemeClr val="bg1"/>
              </a:solidFill>
            </a:endParaRPr>
          </a:p>
        </p:txBody>
      </p:sp>
      <p:sp>
        <p:nvSpPr>
          <p:cNvPr id="54" name="WordArt 5">
            <a:extLst>
              <a:ext uri="{FF2B5EF4-FFF2-40B4-BE49-F238E27FC236}">
                <a16:creationId xmlns:a16="http://schemas.microsoft.com/office/drawing/2014/main" id="{B4FDC805-E206-41BC-8256-A689FAA7D74F}"/>
              </a:ext>
            </a:extLst>
          </p:cNvPr>
          <p:cNvSpPr>
            <a:spLocks noChangeArrowheads="1" noChangeShapeType="1" noTextEdit="1"/>
          </p:cNvSpPr>
          <p:nvPr>
            <p:custDataLst>
              <p:tags r:id="rId15"/>
            </p:custDataLst>
          </p:nvPr>
        </p:nvSpPr>
        <p:spPr>
          <a:xfrm>
            <a:off x="6631932" y="3195628"/>
            <a:ext cx="189837" cy="195257"/>
          </a:xfrm>
          <a:prstGeom prst="rect">
            <a:avLst/>
          </a:prstGeom>
          <a:extLst>
            <a:ext uri="{91240B29-F687-4F45-9708-019B960494DF}">
              <a14:hiddenLine xmlns:a14="http://schemas.microsoft.com/office/drawing/2010/main" w="9525">
                <a:solidFill>
                  <a:schemeClr val="tx2"/>
                </a:solidFill>
                <a:round/>
                <a:headEnd/>
                <a:tailEnd/>
              </a14:hiddenLine>
            </a:ext>
            <a:ext uri="{AF507438-7753-43E0-B8FC-AC1667EBCBE1}">
              <a14:hiddenEffects xmlns:a14="http://schemas.microsoft.com/office/drawing/2010/main">
                <a:effectLst/>
              </a14:hiddenEffects>
            </a:ext>
          </a:extLst>
        </p:spPr>
        <p:txBody>
          <a:bodyPr wrap="none" fromWordArt="1">
            <a:prstTxWarp prst="textPlain">
              <a:avLst>
                <a:gd name="adj" fmla="val 50000"/>
              </a:avLst>
            </a:prstTxWarp>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defRPr/>
            </a:pPr>
            <a:r>
              <a:rPr lang="en-US" sz="1200" kern="10">
                <a:solidFill>
                  <a:schemeClr val="bg1"/>
                </a:solidFill>
                <a:latin typeface="Century Gothic" panose="020B0502020202020204" pitchFamily="34" charset="0"/>
              </a:rPr>
              <a:t>✓</a:t>
            </a:r>
          </a:p>
        </p:txBody>
      </p:sp>
      <p:sp>
        <p:nvSpPr>
          <p:cNvPr id="13" name="Slide Number Placeholder 12">
            <a:extLst>
              <a:ext uri="{FF2B5EF4-FFF2-40B4-BE49-F238E27FC236}">
                <a16:creationId xmlns:a16="http://schemas.microsoft.com/office/drawing/2014/main" id="{E1F8DCAC-2D61-4C67-8F23-D45A2D02AE79}"/>
              </a:ext>
            </a:extLst>
          </p:cNvPr>
          <p:cNvSpPr>
            <a:spLocks noGrp="1"/>
          </p:cNvSpPr>
          <p:nvPr>
            <p:ph type="sldNum" sz="quarter" idx="12"/>
          </p:nvPr>
        </p:nvSpPr>
        <p:spPr/>
        <p:txBody>
          <a:bodyPr/>
          <a:ls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6F896B4A-66F4-420A-A099-F174BF1A0A20}" type="slidenum">
              <a:rPr lang="en-US" smtClean="0"/>
              <a:t>18</a:t>
            </a:fld>
            <a:endParaRPr lang="en-US"/>
          </a:p>
        </p:txBody>
      </p:sp>
    </p:spTree>
    <p:custDataLst>
      <p:tags r:id="rId1"/>
    </p:custDataLst>
    <p:extLst>
      <p:ext uri="{BB962C8B-B14F-4D97-AF65-F5344CB8AC3E}">
        <p14:creationId xmlns:p14="http://schemas.microsoft.com/office/powerpoint/2010/main" val="7012241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04812C46-200A-4DEB-A05E-3ED6C68C23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286" y="0"/>
            <a:ext cx="9141714"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Hourglass and a calendar">
            <a:extLst>
              <a:ext uri="{FF2B5EF4-FFF2-40B4-BE49-F238E27FC236}">
                <a16:creationId xmlns:a16="http://schemas.microsoft.com/office/drawing/2014/main" id="{90CD1C9B-4C06-70FC-07C1-126F25BCCB6D}"/>
              </a:ext>
            </a:extLst>
          </p:cNvPr>
          <p:cNvPicPr>
            <a:picLocks noChangeAspect="1"/>
          </p:cNvPicPr>
          <p:nvPr/>
        </p:nvPicPr>
        <p:blipFill>
          <a:blip r:embed="rId5"/>
          <a:srcRect l="5531" r="-1" b="-1"/>
          <a:stretch/>
        </p:blipFill>
        <p:spPr>
          <a:xfrm>
            <a:off x="1891767" y="10"/>
            <a:ext cx="7252231" cy="5143490"/>
          </a:xfrm>
          <a:prstGeom prst="rect">
            <a:avLst/>
          </a:prstGeom>
        </p:spPr>
      </p:pic>
      <p:sp>
        <p:nvSpPr>
          <p:cNvPr id="16" name="Rectangle 15">
            <a:extLst>
              <a:ext uri="{FF2B5EF4-FFF2-40B4-BE49-F238E27FC236}">
                <a16:creationId xmlns:a16="http://schemas.microsoft.com/office/drawing/2014/main" id="{D1EA859B-E555-4109-94F3-6700E046E0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5542696" cy="51435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1DE1C8A-B453-C6E9-FE67-68C5EF97C459}"/>
              </a:ext>
            </a:extLst>
          </p:cNvPr>
          <p:cNvSpPr>
            <a:spLocks noGrp="1"/>
          </p:cNvSpPr>
          <p:nvPr>
            <p:ph type="title"/>
          </p:nvPr>
        </p:nvSpPr>
        <p:spPr>
          <a:xfrm>
            <a:off x="628650" y="273843"/>
            <a:ext cx="4490904" cy="1424934"/>
          </a:xfrm>
        </p:spPr>
        <p:txBody>
          <a:bodyPr vert="horz" lIns="91440" tIns="45720" rIns="91440" bIns="45720" rtlCol="0" anchor="ctr">
            <a:normAutofit/>
          </a:bodyPr>
          <a:lstStyle/>
          <a:p>
            <a:pPr defTabSz="914400"/>
            <a:r>
              <a:rPr lang="en-US" sz="3000">
                <a:solidFill>
                  <a:srgbClr val="00B050"/>
                </a:solidFill>
              </a:rPr>
              <a:t>Sunday Mindset</a:t>
            </a:r>
          </a:p>
        </p:txBody>
      </p:sp>
      <p:sp>
        <p:nvSpPr>
          <p:cNvPr id="4" name="Content Placeholder 3">
            <a:extLst>
              <a:ext uri="{FF2B5EF4-FFF2-40B4-BE49-F238E27FC236}">
                <a16:creationId xmlns:a16="http://schemas.microsoft.com/office/drawing/2014/main" id="{00FDE82C-744C-4025-17EC-C17950999133}"/>
              </a:ext>
            </a:extLst>
          </p:cNvPr>
          <p:cNvSpPr>
            <a:spLocks noGrp="1"/>
          </p:cNvSpPr>
          <p:nvPr>
            <p:ph sz="half" idx="2"/>
          </p:nvPr>
        </p:nvSpPr>
        <p:spPr>
          <a:xfrm>
            <a:off x="628650" y="1825650"/>
            <a:ext cx="2866641" cy="2807072"/>
          </a:xfrm>
        </p:spPr>
        <p:txBody>
          <a:bodyPr vert="horz" lIns="91440" tIns="45720" rIns="91440" bIns="45720" rtlCol="0" anchor="t">
            <a:normAutofit/>
          </a:bodyPr>
          <a:lstStyle/>
          <a:p>
            <a:pPr indent="-228600" defTabSz="914400"/>
            <a:r>
              <a:rPr lang="en-US" sz="1500"/>
              <a:t>The average person spends about a third of their waking hours at work.</a:t>
            </a:r>
            <a:endParaRPr lang="en-US"/>
          </a:p>
          <a:p>
            <a:pPr indent="-228600" defTabSz="914400"/>
            <a:endParaRPr lang="en-US" sz="1500"/>
          </a:p>
          <a:p>
            <a:pPr marL="0" indent="0" defTabSz="914400">
              <a:buNone/>
            </a:pPr>
            <a:endParaRPr lang="en-US"/>
          </a:p>
          <a:p>
            <a:pPr indent="-228600" defTabSz="914400"/>
            <a:endParaRPr lang="en-US" sz="1500"/>
          </a:p>
        </p:txBody>
      </p:sp>
      <p:sp>
        <p:nvSpPr>
          <p:cNvPr id="5" name="Slide Number Placeholder 4">
            <a:extLst>
              <a:ext uri="{FF2B5EF4-FFF2-40B4-BE49-F238E27FC236}">
                <a16:creationId xmlns:a16="http://schemas.microsoft.com/office/drawing/2014/main" id="{6FE095C2-105B-EB5F-7E24-9DC88E9DABB4}"/>
              </a:ext>
            </a:extLst>
          </p:cNvPr>
          <p:cNvSpPr>
            <a:spLocks noGrp="1"/>
          </p:cNvSpPr>
          <p:nvPr>
            <p:ph type="sldNum" sz="quarter" idx="10"/>
          </p:nvPr>
        </p:nvSpPr>
        <p:spPr>
          <a:xfrm>
            <a:off x="6457950" y="4767262"/>
            <a:ext cx="2057400" cy="273844"/>
          </a:xfrm>
        </p:spPr>
        <p:txBody>
          <a:bodyPr vert="horz" lIns="91440" tIns="45720" rIns="91440" bIns="45720" rtlCol="0" anchor="ctr">
            <a:normAutofit/>
          </a:bodyPr>
          <a:lstStyle/>
          <a:p>
            <a:pPr defTabSz="914400">
              <a:lnSpc>
                <a:spcPct val="90000"/>
              </a:lnSpc>
              <a:spcAft>
                <a:spcPts val="600"/>
              </a:spcAft>
              <a:defRPr/>
            </a:pPr>
            <a:fld id="{42AD0A0E-4515-A647-B2E3-7F1B29FB990E}" type="slidenum">
              <a:rPr lang="en-US" sz="1200">
                <a:solidFill>
                  <a:srgbClr val="FFFFFF"/>
                </a:solidFill>
                <a:latin typeface="Calibri" panose="020F0502020204030204"/>
              </a:rPr>
              <a:pPr defTabSz="914400">
                <a:lnSpc>
                  <a:spcPct val="90000"/>
                </a:lnSpc>
                <a:spcAft>
                  <a:spcPts val="600"/>
                </a:spcAft>
                <a:defRPr/>
              </a:pPr>
              <a:t>19</a:t>
            </a:fld>
            <a:endParaRPr lang="en-US" sz="1200">
              <a:solidFill>
                <a:srgbClr val="FFFFFF"/>
              </a:solidFill>
              <a:latin typeface="Calibri" panose="020F0502020204030204"/>
            </a:endParaRPr>
          </a:p>
        </p:txBody>
      </p:sp>
      <p:pic>
        <p:nvPicPr>
          <p:cNvPr id="10" name="Turtle Hiding Its Head" descr="Turtle Hiding Its Head">
            <a:hlinkClick r:id="" action="ppaction://media"/>
            <a:extLst>
              <a:ext uri="{FF2B5EF4-FFF2-40B4-BE49-F238E27FC236}">
                <a16:creationId xmlns:a16="http://schemas.microsoft.com/office/drawing/2014/main" id="{5CA9A1EB-71ED-0742-FCCE-C3878FDB916F}"/>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4302" y="3195432"/>
            <a:ext cx="3424238" cy="1947862"/>
          </a:xfrm>
          <a:prstGeom prst="rect">
            <a:avLst/>
          </a:prstGeom>
        </p:spPr>
      </p:pic>
    </p:spTree>
    <p:extLst>
      <p:ext uri="{BB962C8B-B14F-4D97-AF65-F5344CB8AC3E}">
        <p14:creationId xmlns:p14="http://schemas.microsoft.com/office/powerpoint/2010/main" val="23768793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mute="1">
                <p:cTn id="7" repeatCount="indefinite" fill="hold" display="0">
                  <p:stCondLst>
                    <p:cond delay="indefinite"/>
                  </p:stCondLst>
                </p:cTn>
                <p:tgtEl>
                  <p:spTgt spid="10"/>
                </p:tgtEl>
              </p:cMediaNode>
            </p:video>
            <p:seq concurrent="1" nextAc="seek">
              <p:cTn id="8" restart="whenNotActive" fill="hold" evtFilter="cancelBubble" nodeType="interactiveSeq">
                <p:stCondLst>
                  <p:cond evt="onClick" delay="0">
                    <p:tgtEl>
                      <p:spTgt spid="10"/>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0"/>
                                        </p:tgtEl>
                                      </p:cBhvr>
                                    </p:cmd>
                                  </p:childTnLst>
                                </p:cTn>
                              </p:par>
                            </p:childTnLst>
                          </p:cTn>
                        </p:par>
                      </p:childTnLst>
                    </p:cTn>
                  </p:par>
                </p:childTnLst>
              </p:cTn>
              <p:nextCondLst>
                <p:cond evt="onClick" delay="0">
                  <p:tgtEl>
                    <p:spTgt spid="10"/>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2">
            <a:extLst>
              <a:ext uri="{FF2B5EF4-FFF2-40B4-BE49-F238E27FC236}">
                <a16:creationId xmlns:a16="http://schemas.microsoft.com/office/drawing/2014/main" id="{13CB7A10-4206-4923-8BB7-E8518E49EABA}"/>
              </a:ext>
            </a:extLst>
          </p:cNvPr>
          <p:cNvSpPr txBox="1">
            <a:spLocks/>
          </p:cNvSpPr>
          <p:nvPr/>
        </p:nvSpPr>
        <p:spPr bwMode="auto">
          <a:xfrm>
            <a:off x="7444874" y="85797"/>
            <a:ext cx="1600200" cy="27384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defPPr>
              <a:defRPr lang="en-US"/>
            </a:defPPr>
            <a:lvl1pPr marL="0" algn="l" defTabSz="685800" rtl="0" eaLnBrk="1" latinLnBrk="0" hangingPunct="1">
              <a:spcBef>
                <a:spcPct val="20000"/>
              </a:spcBef>
              <a:buClr>
                <a:srgbClr val="FF6600"/>
              </a:buClr>
              <a:buSzPct val="100000"/>
              <a:buFont typeface="Arial" pitchFamily="34" charset="0"/>
              <a:buChar char="•"/>
              <a:defRPr sz="2100" kern="1200">
                <a:solidFill>
                  <a:srgbClr val="FBFBFB"/>
                </a:solidFill>
                <a:latin typeface="Arial" pitchFamily="34" charset="0"/>
                <a:ea typeface="+mn-ea"/>
                <a:cs typeface="Arial" pitchFamily="34" charset="0"/>
              </a:defRPr>
            </a:lvl1pPr>
            <a:lvl2pPr marL="557213" indent="-214313" algn="l" defTabSz="685800" rtl="0" eaLnBrk="1" latinLnBrk="0" hangingPunct="1">
              <a:spcBef>
                <a:spcPct val="20000"/>
              </a:spcBef>
              <a:buClr>
                <a:srgbClr val="FF6600"/>
              </a:buClr>
              <a:buSzPct val="110000"/>
              <a:buFont typeface="Arial" pitchFamily="34" charset="0"/>
              <a:buChar char="•"/>
              <a:defRPr sz="1800" kern="1200">
                <a:solidFill>
                  <a:srgbClr val="FBFBFB"/>
                </a:solidFill>
                <a:latin typeface="Arial" pitchFamily="34" charset="0"/>
                <a:ea typeface="+mn-ea"/>
                <a:cs typeface="Arial" pitchFamily="34" charset="0"/>
              </a:defRPr>
            </a:lvl2pPr>
            <a:lvl3pPr marL="857250" indent="-171450" algn="l" defTabSz="685800" rtl="0" eaLnBrk="1" latinLnBrk="0" hangingPunct="1">
              <a:spcBef>
                <a:spcPct val="20000"/>
              </a:spcBef>
              <a:buClr>
                <a:srgbClr val="FF6600"/>
              </a:buClr>
              <a:buSzPct val="110000"/>
              <a:buFont typeface="Arial" pitchFamily="34" charset="0"/>
              <a:buChar char="•"/>
              <a:defRPr sz="1500" kern="1200">
                <a:solidFill>
                  <a:srgbClr val="FBFBFB"/>
                </a:solidFill>
                <a:latin typeface="Arial" pitchFamily="34" charset="0"/>
                <a:ea typeface="+mn-ea"/>
                <a:cs typeface="Arial" pitchFamily="34" charset="0"/>
              </a:defRPr>
            </a:lvl3pPr>
            <a:lvl4pPr marL="1200150" indent="-171450" algn="l" defTabSz="685800" rtl="0" eaLnBrk="1" latinLnBrk="0" hangingPunct="1">
              <a:spcBef>
                <a:spcPct val="20000"/>
              </a:spcBef>
              <a:buClr>
                <a:srgbClr val="FF6600"/>
              </a:buClr>
              <a:buSzPct val="110000"/>
              <a:buFont typeface="Arial" pitchFamily="34" charset="0"/>
              <a:buChar char="•"/>
              <a:defRPr sz="1350" kern="1200">
                <a:solidFill>
                  <a:srgbClr val="FBFBFB"/>
                </a:solidFill>
                <a:latin typeface="Arial" pitchFamily="34" charset="0"/>
                <a:ea typeface="+mn-ea"/>
                <a:cs typeface="Arial" pitchFamily="34" charset="0"/>
              </a:defRPr>
            </a:lvl4pPr>
            <a:lvl5pPr marL="1543050" indent="-171450" algn="l" defTabSz="685800" rtl="0" eaLnBrk="1" latinLnBrk="0" hangingPunct="1">
              <a:spcBef>
                <a:spcPct val="20000"/>
              </a:spcBef>
              <a:buClr>
                <a:srgbClr val="FF6600"/>
              </a:buClr>
              <a:buSzPct val="110000"/>
              <a:buFont typeface="Arial" pitchFamily="34" charset="0"/>
              <a:buChar char="•"/>
              <a:defRPr sz="1350" kern="1200">
                <a:solidFill>
                  <a:srgbClr val="FBFBFB"/>
                </a:solidFill>
                <a:latin typeface="Arial" pitchFamily="34" charset="0"/>
                <a:ea typeface="+mn-ea"/>
                <a:cs typeface="Arial" pitchFamily="34" charset="0"/>
              </a:defRPr>
            </a:lvl5pPr>
            <a:lvl6pPr marL="1885950" indent="-171450" algn="l" defTabSz="685800" rtl="0" eaLnBrk="1" fontAlgn="base" latinLnBrk="0" hangingPunct="1">
              <a:spcBef>
                <a:spcPct val="20000"/>
              </a:spcBef>
              <a:spcAft>
                <a:spcPct val="0"/>
              </a:spcAft>
              <a:buClr>
                <a:srgbClr val="FF6600"/>
              </a:buClr>
              <a:buSzPct val="110000"/>
              <a:buFont typeface="Arial" pitchFamily="34" charset="0"/>
              <a:buChar char="•"/>
              <a:defRPr sz="1350" kern="1200">
                <a:solidFill>
                  <a:srgbClr val="FBFBFB"/>
                </a:solidFill>
                <a:latin typeface="Arial" pitchFamily="34" charset="0"/>
                <a:ea typeface="+mn-ea"/>
                <a:cs typeface="Arial" pitchFamily="34" charset="0"/>
              </a:defRPr>
            </a:lvl6pPr>
            <a:lvl7pPr marL="2228850" indent="-171450" algn="l" defTabSz="685800" rtl="0" eaLnBrk="1" fontAlgn="base" latinLnBrk="0" hangingPunct="1">
              <a:spcBef>
                <a:spcPct val="20000"/>
              </a:spcBef>
              <a:spcAft>
                <a:spcPct val="0"/>
              </a:spcAft>
              <a:buClr>
                <a:srgbClr val="FF6600"/>
              </a:buClr>
              <a:buSzPct val="110000"/>
              <a:buFont typeface="Arial" pitchFamily="34" charset="0"/>
              <a:buChar char="•"/>
              <a:defRPr sz="1350" kern="1200">
                <a:solidFill>
                  <a:srgbClr val="FBFBFB"/>
                </a:solidFill>
                <a:latin typeface="Arial" pitchFamily="34" charset="0"/>
                <a:ea typeface="+mn-ea"/>
                <a:cs typeface="Arial" pitchFamily="34" charset="0"/>
              </a:defRPr>
            </a:lvl7pPr>
            <a:lvl8pPr marL="2571750" indent="-171450" algn="l" defTabSz="685800" rtl="0" eaLnBrk="1" fontAlgn="base" latinLnBrk="0" hangingPunct="1">
              <a:spcBef>
                <a:spcPct val="20000"/>
              </a:spcBef>
              <a:spcAft>
                <a:spcPct val="0"/>
              </a:spcAft>
              <a:buClr>
                <a:srgbClr val="FF6600"/>
              </a:buClr>
              <a:buSzPct val="110000"/>
              <a:buFont typeface="Arial" pitchFamily="34" charset="0"/>
              <a:buChar char="•"/>
              <a:defRPr sz="1350" kern="1200">
                <a:solidFill>
                  <a:srgbClr val="FBFBFB"/>
                </a:solidFill>
                <a:latin typeface="Arial" pitchFamily="34" charset="0"/>
                <a:ea typeface="+mn-ea"/>
                <a:cs typeface="Arial" pitchFamily="34" charset="0"/>
              </a:defRPr>
            </a:lvl8pPr>
            <a:lvl9pPr marL="2914650" indent="-171450" algn="l" defTabSz="685800" rtl="0" eaLnBrk="1" fontAlgn="base" latinLnBrk="0" hangingPunct="1">
              <a:spcBef>
                <a:spcPct val="20000"/>
              </a:spcBef>
              <a:spcAft>
                <a:spcPct val="0"/>
              </a:spcAft>
              <a:buClr>
                <a:srgbClr val="FF6600"/>
              </a:buClr>
              <a:buSzPct val="110000"/>
              <a:buFont typeface="Arial" pitchFamily="34" charset="0"/>
              <a:buChar char="•"/>
              <a:defRPr sz="1350" kern="1200">
                <a:solidFill>
                  <a:srgbClr val="FBFBFB"/>
                </a:solidFill>
                <a:latin typeface="Arial" pitchFamily="34" charset="0"/>
                <a:ea typeface="+mn-ea"/>
                <a:cs typeface="Arial" pitchFamily="34" charset="0"/>
              </a:defRPr>
            </a:lvl9pPr>
          </a:lstStyle>
          <a:p>
            <a:pPr algn="r" defTabSz="685749" fontAlgn="base">
              <a:spcBef>
                <a:spcPct val="0"/>
              </a:spcBef>
              <a:spcAft>
                <a:spcPct val="0"/>
              </a:spcAft>
              <a:buClrTx/>
              <a:buSzTx/>
              <a:buNone/>
              <a:defRPr/>
            </a:pPr>
            <a:r>
              <a:rPr lang="en-US" altLang="en-US" sz="900">
                <a:solidFill>
                  <a:prstClr val="black"/>
                </a:solidFill>
                <a:latin typeface="+mn-lt"/>
              </a:rPr>
              <a:t>2</a:t>
            </a:r>
          </a:p>
        </p:txBody>
      </p:sp>
      <p:sp>
        <p:nvSpPr>
          <p:cNvPr id="8195" name="Content Placeholder 2">
            <a:extLst>
              <a:ext uri="{FF2B5EF4-FFF2-40B4-BE49-F238E27FC236}">
                <a16:creationId xmlns:a16="http://schemas.microsoft.com/office/drawing/2014/main" id="{D59FAA3D-6388-4573-9CF1-E44C113827C6}"/>
              </a:ext>
            </a:extLst>
          </p:cNvPr>
          <p:cNvSpPr txBox="1">
            <a:spLocks/>
          </p:cNvSpPr>
          <p:nvPr/>
        </p:nvSpPr>
        <p:spPr bwMode="auto">
          <a:xfrm>
            <a:off x="1097533" y="977110"/>
            <a:ext cx="6640171" cy="8768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34286" rIns="0" bIns="34286" anchor="t"/>
          <a:lstStyle>
            <a:lvl1pPr eaLnBrk="0" hangingPunct="0">
              <a:spcBef>
                <a:spcPts val="600"/>
              </a:spcBef>
              <a:spcAft>
                <a:spcPts val="600"/>
              </a:spcAft>
              <a:buClr>
                <a:srgbClr val="FF6600"/>
              </a:buClr>
              <a:buSzPct val="130000"/>
              <a:buFont typeface="Arial" pitchFamily="34" charset="0"/>
              <a:buChar char="•"/>
              <a:tabLst>
                <a:tab pos="1435100" algn="l"/>
              </a:tabLst>
              <a:defRPr sz="2800">
                <a:solidFill>
                  <a:srgbClr val="142F92"/>
                </a:solidFill>
                <a:latin typeface="Arial Narrow" pitchFamily="34" charset="0"/>
                <a:cs typeface="Arial" pitchFamily="34" charset="0"/>
              </a:defRPr>
            </a:lvl1pPr>
            <a:lvl2pPr marL="742950" indent="-285750" eaLnBrk="0" hangingPunct="0">
              <a:spcBef>
                <a:spcPts val="600"/>
              </a:spcBef>
              <a:spcAft>
                <a:spcPts val="600"/>
              </a:spcAft>
              <a:buClr>
                <a:srgbClr val="FF6600"/>
              </a:buClr>
              <a:buSzPct val="130000"/>
              <a:buFont typeface="Arial Narrow" pitchFamily="34" charset="0"/>
              <a:buChar char="–"/>
              <a:tabLst>
                <a:tab pos="1435100" algn="l"/>
              </a:tabLst>
              <a:defRPr sz="2400">
                <a:solidFill>
                  <a:srgbClr val="142F92"/>
                </a:solidFill>
                <a:latin typeface="Arial Narrow" pitchFamily="34" charset="0"/>
                <a:cs typeface="Arial" pitchFamily="34" charset="0"/>
              </a:defRPr>
            </a:lvl2pPr>
            <a:lvl3pPr marL="1143000" indent="-228600" eaLnBrk="0" hangingPunct="0">
              <a:spcBef>
                <a:spcPts val="600"/>
              </a:spcBef>
              <a:spcAft>
                <a:spcPts val="600"/>
              </a:spcAft>
              <a:buClr>
                <a:srgbClr val="FF6600"/>
              </a:buClr>
              <a:buSzPct val="130000"/>
              <a:buFont typeface="Arial" pitchFamily="34" charset="0"/>
              <a:buChar char="•"/>
              <a:tabLst>
                <a:tab pos="1435100" algn="l"/>
              </a:tabLst>
              <a:defRPr sz="2000">
                <a:solidFill>
                  <a:srgbClr val="142F92"/>
                </a:solidFill>
                <a:latin typeface="Arial Narrow" pitchFamily="34" charset="0"/>
                <a:cs typeface="Arial" pitchFamily="34" charset="0"/>
              </a:defRPr>
            </a:lvl3pPr>
            <a:lvl4pPr marL="1600200" indent="-228600" eaLnBrk="0" hangingPunct="0">
              <a:spcBef>
                <a:spcPts val="600"/>
              </a:spcBef>
              <a:spcAft>
                <a:spcPts val="600"/>
              </a:spcAft>
              <a:buClr>
                <a:srgbClr val="FF6600"/>
              </a:buClr>
              <a:buSzPct val="130000"/>
              <a:buFont typeface="Arial Narrow" pitchFamily="34" charset="0"/>
              <a:buChar char="–"/>
              <a:tabLst>
                <a:tab pos="1435100" algn="l"/>
              </a:tabLst>
              <a:defRPr>
                <a:solidFill>
                  <a:srgbClr val="142F92"/>
                </a:solidFill>
                <a:latin typeface="Arial Narrow" pitchFamily="34" charset="0"/>
                <a:cs typeface="Arial" pitchFamily="34" charset="0"/>
              </a:defRPr>
            </a:lvl4pPr>
            <a:lvl5pPr marL="2057400" indent="-228600" eaLnBrk="0" hangingPunct="0">
              <a:spcBef>
                <a:spcPts val="600"/>
              </a:spcBef>
              <a:spcAft>
                <a:spcPts val="600"/>
              </a:spcAft>
              <a:buClr>
                <a:srgbClr val="FF6600"/>
              </a:buClr>
              <a:buSzPct val="130000"/>
              <a:buFont typeface="Arial" pitchFamily="34" charset="0"/>
              <a:buChar char="•"/>
              <a:tabLst>
                <a:tab pos="1435100" algn="l"/>
              </a:tabLst>
              <a:defRPr sz="1600">
                <a:solidFill>
                  <a:srgbClr val="142F92"/>
                </a:solidFill>
                <a:latin typeface="Arial Narrow" pitchFamily="34" charset="0"/>
                <a:cs typeface="Arial" pitchFamily="34" charset="0"/>
              </a:defRPr>
            </a:lvl5pPr>
            <a:lvl6pPr marL="2514600" indent="-228600" eaLnBrk="0" fontAlgn="base" hangingPunct="0">
              <a:spcBef>
                <a:spcPts val="600"/>
              </a:spcBef>
              <a:spcAft>
                <a:spcPts val="600"/>
              </a:spcAft>
              <a:buClr>
                <a:srgbClr val="FF6600"/>
              </a:buClr>
              <a:buSzPct val="130000"/>
              <a:buFont typeface="Arial" pitchFamily="34" charset="0"/>
              <a:buChar char="•"/>
              <a:tabLst>
                <a:tab pos="1435100" algn="l"/>
              </a:tabLst>
              <a:defRPr sz="1600">
                <a:solidFill>
                  <a:srgbClr val="142F92"/>
                </a:solidFill>
                <a:latin typeface="Arial Narrow" pitchFamily="34" charset="0"/>
                <a:cs typeface="Arial" pitchFamily="34" charset="0"/>
              </a:defRPr>
            </a:lvl6pPr>
            <a:lvl7pPr marL="2971800" indent="-228600" eaLnBrk="0" fontAlgn="base" hangingPunct="0">
              <a:spcBef>
                <a:spcPts val="600"/>
              </a:spcBef>
              <a:spcAft>
                <a:spcPts val="600"/>
              </a:spcAft>
              <a:buClr>
                <a:srgbClr val="FF6600"/>
              </a:buClr>
              <a:buSzPct val="130000"/>
              <a:buFont typeface="Arial" pitchFamily="34" charset="0"/>
              <a:buChar char="•"/>
              <a:tabLst>
                <a:tab pos="1435100" algn="l"/>
              </a:tabLst>
              <a:defRPr sz="1600">
                <a:solidFill>
                  <a:srgbClr val="142F92"/>
                </a:solidFill>
                <a:latin typeface="Arial Narrow" pitchFamily="34" charset="0"/>
                <a:cs typeface="Arial" pitchFamily="34" charset="0"/>
              </a:defRPr>
            </a:lvl7pPr>
            <a:lvl8pPr marL="3429000" indent="-228600" eaLnBrk="0" fontAlgn="base" hangingPunct="0">
              <a:spcBef>
                <a:spcPts val="600"/>
              </a:spcBef>
              <a:spcAft>
                <a:spcPts val="600"/>
              </a:spcAft>
              <a:buClr>
                <a:srgbClr val="FF6600"/>
              </a:buClr>
              <a:buSzPct val="130000"/>
              <a:buFont typeface="Arial" pitchFamily="34" charset="0"/>
              <a:buChar char="•"/>
              <a:tabLst>
                <a:tab pos="1435100" algn="l"/>
              </a:tabLst>
              <a:defRPr sz="1600">
                <a:solidFill>
                  <a:srgbClr val="142F92"/>
                </a:solidFill>
                <a:latin typeface="Arial Narrow" pitchFamily="34" charset="0"/>
                <a:cs typeface="Arial" pitchFamily="34" charset="0"/>
              </a:defRPr>
            </a:lvl8pPr>
            <a:lvl9pPr marL="3886200" indent="-228600" eaLnBrk="0" fontAlgn="base" hangingPunct="0">
              <a:spcBef>
                <a:spcPts val="600"/>
              </a:spcBef>
              <a:spcAft>
                <a:spcPts val="600"/>
              </a:spcAft>
              <a:buClr>
                <a:srgbClr val="FF6600"/>
              </a:buClr>
              <a:buSzPct val="130000"/>
              <a:buFont typeface="Arial" pitchFamily="34" charset="0"/>
              <a:buChar char="•"/>
              <a:tabLst>
                <a:tab pos="1435100" algn="l"/>
              </a:tabLst>
              <a:defRPr sz="1600">
                <a:solidFill>
                  <a:srgbClr val="142F92"/>
                </a:solidFill>
                <a:latin typeface="Arial Narrow" pitchFamily="34" charset="0"/>
                <a:cs typeface="Arial" pitchFamily="34" charset="0"/>
              </a:defRPr>
            </a:lvl9pPr>
          </a:lstStyle>
          <a:p>
            <a:pPr defTabSz="342875" fontAlgn="base">
              <a:lnSpc>
                <a:spcPct val="110000"/>
              </a:lnSpc>
              <a:buNone/>
              <a:tabLst>
                <a:tab pos="1076244" algn="l"/>
              </a:tabLst>
              <a:defRPr/>
            </a:pPr>
            <a:r>
              <a:rPr lang="en-US" altLang="en-US" sz="2400">
                <a:latin typeface="Franklin Gothic Book" panose="020B0503020102020204"/>
                <a:ea typeface="ＭＳ Ｐゴシック"/>
                <a:cs typeface="Calibri"/>
              </a:rPr>
              <a:t>. . . </a:t>
            </a:r>
            <a:r>
              <a:rPr lang="en-US" altLang="en-US" sz="2400" spc="-23">
                <a:latin typeface="Franklin Gothic Book" panose="020B0503020102020204"/>
                <a:ea typeface="ＭＳ Ｐゴシック"/>
                <a:cs typeface="Calibri"/>
              </a:rPr>
              <a:t>the following Titanium and Platinum Corporate Sponsors for their ongoing support of the Society:</a:t>
            </a:r>
          </a:p>
          <a:p>
            <a:pPr defTabSz="342875" fontAlgn="base">
              <a:buNone/>
              <a:tabLst>
                <a:tab pos="1076244" algn="l"/>
              </a:tabLst>
              <a:defRPr/>
            </a:pPr>
            <a:endParaRPr lang="en-US" altLang="en-US" sz="2400">
              <a:solidFill>
                <a:srgbClr val="0000FF"/>
              </a:solidFill>
              <a:latin typeface="Arial Narrow"/>
              <a:ea typeface="ＭＳ Ｐゴシック" pitchFamily="34" charset="-128"/>
              <a:cs typeface="Calibri" pitchFamily="34" charset="0"/>
            </a:endParaRPr>
          </a:p>
          <a:p>
            <a:pPr defTabSz="342875" fontAlgn="base">
              <a:buNone/>
              <a:tabLst>
                <a:tab pos="1076244" algn="l"/>
              </a:tabLst>
              <a:defRPr/>
            </a:pPr>
            <a:r>
              <a:rPr lang="en-US" altLang="en-US" sz="2400">
                <a:solidFill>
                  <a:srgbClr val="0000FF"/>
                </a:solidFill>
                <a:latin typeface="Arial Narrow"/>
                <a:ea typeface="ＭＳ Ｐゴシック" pitchFamily="34" charset="-128"/>
                <a:cs typeface="Calibri" pitchFamily="34" charset="0"/>
              </a:rPr>
              <a:t>																					</a:t>
            </a:r>
          </a:p>
          <a:p>
            <a:pPr defTabSz="342875">
              <a:buNone/>
              <a:tabLst>
                <a:tab pos="1076244" algn="l"/>
              </a:tabLst>
              <a:defRPr/>
            </a:pPr>
            <a:endParaRPr lang="en-US" altLang="en-US" sz="2400">
              <a:solidFill>
                <a:srgbClr val="0000FF"/>
              </a:solidFill>
              <a:latin typeface="Arial Narrow"/>
              <a:ea typeface="ＭＳ Ｐゴシック" pitchFamily="34" charset="-128"/>
              <a:cs typeface="Calibri" pitchFamily="34" charset="0"/>
            </a:endParaRPr>
          </a:p>
          <a:p>
            <a:pPr defTabSz="342875">
              <a:buNone/>
              <a:tabLst>
                <a:tab pos="1076244" algn="l"/>
              </a:tabLst>
              <a:defRPr/>
            </a:pPr>
            <a:endParaRPr lang="en-US" altLang="en-US" sz="2400">
              <a:solidFill>
                <a:srgbClr val="0000FF"/>
              </a:solidFill>
              <a:latin typeface="Arial Narrow"/>
              <a:ea typeface="ＭＳ Ｐゴシック" pitchFamily="34" charset="-128"/>
              <a:cs typeface="Calibri" pitchFamily="34" charset="0"/>
            </a:endParaRPr>
          </a:p>
          <a:p>
            <a:pPr defTabSz="342875">
              <a:buNone/>
              <a:tabLst>
                <a:tab pos="1076244" algn="l"/>
              </a:tabLst>
              <a:defRPr/>
            </a:pPr>
            <a:endParaRPr lang="en-US" altLang="en-US" sz="2400">
              <a:solidFill>
                <a:srgbClr val="0000FF"/>
              </a:solidFill>
              <a:latin typeface="Arial Narrow"/>
              <a:ea typeface="ＭＳ Ｐゴシック" pitchFamily="34" charset="-128"/>
              <a:cs typeface="Calibri" pitchFamily="34" charset="0"/>
            </a:endParaRPr>
          </a:p>
          <a:p>
            <a:pPr defTabSz="342875">
              <a:buNone/>
              <a:tabLst>
                <a:tab pos="1076244" algn="l"/>
              </a:tabLst>
              <a:defRPr/>
            </a:pPr>
            <a:endParaRPr lang="en-US" altLang="en-US" sz="2400">
              <a:solidFill>
                <a:srgbClr val="0000FF"/>
              </a:solidFill>
              <a:latin typeface="Arial Narrow"/>
              <a:ea typeface="ＭＳ Ｐゴシック" pitchFamily="34" charset="-128"/>
              <a:cs typeface="Calibri" pitchFamily="34" charset="0"/>
            </a:endParaRPr>
          </a:p>
          <a:p>
            <a:pPr defTabSz="342875">
              <a:buNone/>
              <a:tabLst>
                <a:tab pos="1076244" algn="l"/>
              </a:tabLst>
              <a:defRPr/>
            </a:pPr>
            <a:endParaRPr lang="en-US" altLang="en-US" sz="2400">
              <a:solidFill>
                <a:srgbClr val="0000FF"/>
              </a:solidFill>
              <a:latin typeface="Arial Narrow"/>
              <a:ea typeface="ＭＳ Ｐゴシック" pitchFamily="34" charset="-128"/>
              <a:cs typeface="Calibri" pitchFamily="34" charset="0"/>
            </a:endParaRPr>
          </a:p>
        </p:txBody>
      </p:sp>
      <p:pic>
        <p:nvPicPr>
          <p:cNvPr id="16390" name="Picture 8" descr="Amgen_2_Blue_PC.jpg">
            <a:extLst>
              <a:ext uri="{FF2B5EF4-FFF2-40B4-BE49-F238E27FC236}">
                <a16:creationId xmlns:a16="http://schemas.microsoft.com/office/drawing/2014/main" id="{C22B5629-429A-43DB-BDC1-D6253FF6CA1C}"/>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723416" y="1950778"/>
            <a:ext cx="1235494" cy="536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96" name="Picture 2" descr="alt">
            <a:extLst>
              <a:ext uri="{FF2B5EF4-FFF2-40B4-BE49-F238E27FC236}">
                <a16:creationId xmlns:a16="http://schemas.microsoft.com/office/drawing/2014/main" id="{1FC28537-2511-43CA-B5FD-6092ABBD8975}"/>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599150" y="1781881"/>
            <a:ext cx="1722475" cy="413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400" name="Picture 3">
            <a:extLst>
              <a:ext uri="{FF2B5EF4-FFF2-40B4-BE49-F238E27FC236}">
                <a16:creationId xmlns:a16="http://schemas.microsoft.com/office/drawing/2014/main" id="{A31D5FDF-969A-499D-832B-2336C9DB19D0}"/>
              </a:ext>
            </a:extLst>
          </p:cNvPr>
          <p:cNvPicPr>
            <a:picLocks noChangeAspect="1"/>
          </p:cNvPicPr>
          <p:nvPr/>
        </p:nvPicPr>
        <p:blipFill>
          <a:blip r:embed="rId5">
            <a:extLst>
              <a:ext uri="{28A0092B-C50C-407E-A947-70E740481C1C}">
                <a14:useLocalDpi xmlns:a14="http://schemas.microsoft.com/office/drawing/2010/main"/>
              </a:ext>
            </a:extLst>
          </a:blip>
          <a:srcRect/>
          <a:stretch>
            <a:fillRect/>
          </a:stretch>
        </p:blipFill>
        <p:spPr bwMode="auto">
          <a:xfrm>
            <a:off x="7500311" y="2808617"/>
            <a:ext cx="931953" cy="482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descr="A picture containing drawing&#10;&#10;Description automatically generated">
            <a:extLst>
              <a:ext uri="{FF2B5EF4-FFF2-40B4-BE49-F238E27FC236}">
                <a16:creationId xmlns:a16="http://schemas.microsoft.com/office/drawing/2014/main" id="{4E8E5AE2-FBA0-44A2-8D5B-51E781028FE2}"/>
              </a:ext>
            </a:extLst>
          </p:cNvPr>
          <p:cNvPicPr>
            <a:picLocks noChangeAspect="1"/>
          </p:cNvPicPr>
          <p:nvPr/>
        </p:nvPicPr>
        <p:blipFill>
          <a:blip r:embed="rId6">
            <a:clrChange>
              <a:clrFrom>
                <a:srgbClr val="FFFFF6"/>
              </a:clrFrom>
              <a:clrTo>
                <a:srgbClr val="FFFFF6">
                  <a:alpha val="0"/>
                </a:srgbClr>
              </a:clrTo>
            </a:clrChange>
            <a:extLst>
              <a:ext uri="{28A0092B-C50C-407E-A947-70E740481C1C}">
                <a14:useLocalDpi xmlns:a14="http://schemas.microsoft.com/office/drawing/2010/main" val="0"/>
              </a:ext>
            </a:extLst>
          </a:blip>
          <a:stretch>
            <a:fillRect/>
          </a:stretch>
        </p:blipFill>
        <p:spPr>
          <a:xfrm>
            <a:off x="5879619" y="2043437"/>
            <a:ext cx="685448" cy="664941"/>
          </a:xfrm>
          <a:prstGeom prst="rect">
            <a:avLst/>
          </a:prstGeom>
        </p:spPr>
      </p:pic>
      <p:pic>
        <p:nvPicPr>
          <p:cNvPr id="15" name="Picture 14" descr="Logo&#10;&#10;Description automatically generated">
            <a:extLst>
              <a:ext uri="{FF2B5EF4-FFF2-40B4-BE49-F238E27FC236}">
                <a16:creationId xmlns:a16="http://schemas.microsoft.com/office/drawing/2014/main" id="{7F11F72E-F027-4306-BD5C-6B8239205164}"/>
              </a:ext>
            </a:extLst>
          </p:cNvPr>
          <p:cNvPicPr>
            <a:picLocks noChangeAspect="1"/>
          </p:cNvPicPr>
          <p:nvPr/>
        </p:nvPicPr>
        <p:blipFill>
          <a:blip r:embed="rId7"/>
          <a:stretch>
            <a:fillRect/>
          </a:stretch>
        </p:blipFill>
        <p:spPr>
          <a:xfrm>
            <a:off x="4093138" y="3676070"/>
            <a:ext cx="1422950" cy="655320"/>
          </a:xfrm>
          <a:prstGeom prst="rect">
            <a:avLst/>
          </a:prstGeom>
        </p:spPr>
      </p:pic>
      <p:pic>
        <p:nvPicPr>
          <p:cNvPr id="27" name="Picture 26" descr="Logo, company name&#10;&#10;Description automatically generated">
            <a:extLst>
              <a:ext uri="{FF2B5EF4-FFF2-40B4-BE49-F238E27FC236}">
                <a16:creationId xmlns:a16="http://schemas.microsoft.com/office/drawing/2014/main" id="{69DDB59B-F9B7-4F33-AAC6-273D60F28623}"/>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6654792" y="4037410"/>
            <a:ext cx="1824424" cy="1016625"/>
          </a:xfrm>
          <a:prstGeom prst="rect">
            <a:avLst/>
          </a:prstGeom>
          <a:noFill/>
          <a:ln>
            <a:noFill/>
          </a:ln>
        </p:spPr>
      </p:pic>
      <p:pic>
        <p:nvPicPr>
          <p:cNvPr id="1026" name="Picture 2">
            <a:hlinkClick r:id="rId9"/>
            <a:extLst>
              <a:ext uri="{FF2B5EF4-FFF2-40B4-BE49-F238E27FC236}">
                <a16:creationId xmlns:a16="http://schemas.microsoft.com/office/drawing/2014/main" id="{37CAB13B-8E08-4268-9B7B-B34D698F52C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2232" y="2601526"/>
            <a:ext cx="1196207" cy="48181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E92650A6-3EBB-43B3-959B-4E73C00D5CA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203118" y="4207802"/>
            <a:ext cx="659171" cy="65917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hlinkClick r:id="rId12"/>
            <a:extLst>
              <a:ext uri="{FF2B5EF4-FFF2-40B4-BE49-F238E27FC236}">
                <a16:creationId xmlns:a16="http://schemas.microsoft.com/office/drawing/2014/main" id="{968E2833-1B28-42C9-865C-8B2BDE673DA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014030" y="2803483"/>
            <a:ext cx="2278003" cy="48869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hlinkClick r:id="rId14"/>
            <a:extLst>
              <a:ext uri="{FF2B5EF4-FFF2-40B4-BE49-F238E27FC236}">
                <a16:creationId xmlns:a16="http://schemas.microsoft.com/office/drawing/2014/main" id="{0131A963-1A32-41AF-9EEC-67B63DBC2BD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711918" y="2030118"/>
            <a:ext cx="2068481" cy="30512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descr="Logo&#10;&#10;Description automatically generated">
            <a:extLst>
              <a:ext uri="{FF2B5EF4-FFF2-40B4-BE49-F238E27FC236}">
                <a16:creationId xmlns:a16="http://schemas.microsoft.com/office/drawing/2014/main" id="{4A3E85D4-F676-4798-AAC5-4BB03138EE43}"/>
              </a:ext>
            </a:extLst>
          </p:cNvPr>
          <p:cNvPicPr>
            <a:picLocks noChangeAspect="1"/>
          </p:cNvPicPr>
          <p:nvPr/>
        </p:nvPicPr>
        <p:blipFill>
          <a:blip r:embed="rId16"/>
          <a:stretch>
            <a:fillRect/>
          </a:stretch>
        </p:blipFill>
        <p:spPr>
          <a:xfrm>
            <a:off x="428170" y="4534508"/>
            <a:ext cx="1281050" cy="319563"/>
          </a:xfrm>
          <a:prstGeom prst="rect">
            <a:avLst/>
          </a:prstGeom>
        </p:spPr>
      </p:pic>
      <p:pic>
        <p:nvPicPr>
          <p:cNvPr id="4" name="Picture 5" descr="Logo&#10;&#10;Description automatically generated">
            <a:extLst>
              <a:ext uri="{FF2B5EF4-FFF2-40B4-BE49-F238E27FC236}">
                <a16:creationId xmlns:a16="http://schemas.microsoft.com/office/drawing/2014/main" id="{6C9A291A-0E5B-4E0F-8622-93A6FDD11E30}"/>
              </a:ext>
            </a:extLst>
          </p:cNvPr>
          <p:cNvPicPr>
            <a:picLocks noChangeAspect="1"/>
          </p:cNvPicPr>
          <p:nvPr/>
        </p:nvPicPr>
        <p:blipFill>
          <a:blip r:embed="rId17"/>
          <a:stretch>
            <a:fillRect/>
          </a:stretch>
        </p:blipFill>
        <p:spPr>
          <a:xfrm>
            <a:off x="2460388" y="3810978"/>
            <a:ext cx="1311008" cy="329947"/>
          </a:xfrm>
          <a:prstGeom prst="rect">
            <a:avLst/>
          </a:prstGeom>
        </p:spPr>
      </p:pic>
      <p:pic>
        <p:nvPicPr>
          <p:cNvPr id="24" name="Picture 23" descr="Logo, company name&#10;&#10;Description automatically generated">
            <a:extLst>
              <a:ext uri="{FF2B5EF4-FFF2-40B4-BE49-F238E27FC236}">
                <a16:creationId xmlns:a16="http://schemas.microsoft.com/office/drawing/2014/main" id="{471F43E0-BB48-43EF-8A56-61DD3C44A076}"/>
              </a:ext>
            </a:extLst>
          </p:cNvPr>
          <p:cNvPicPr>
            <a:picLocks noChangeAspect="1"/>
          </p:cNvPicPr>
          <p:nvPr/>
        </p:nvPicPr>
        <p:blipFill>
          <a:blip r:embed="rId18">
            <a:extLst>
              <a:ext uri="{28A0092B-C50C-407E-A947-70E740481C1C}">
                <a14:useLocalDpi xmlns:a14="http://schemas.microsoft.com/office/drawing/2010/main" val="0"/>
              </a:ext>
            </a:extLst>
          </a:blip>
          <a:srcRect/>
          <a:stretch>
            <a:fillRect/>
          </a:stretch>
        </p:blipFill>
        <p:spPr bwMode="auto">
          <a:xfrm>
            <a:off x="5246206" y="4232702"/>
            <a:ext cx="1266825" cy="583565"/>
          </a:xfrm>
          <a:prstGeom prst="rect">
            <a:avLst/>
          </a:prstGeom>
          <a:noFill/>
          <a:ln>
            <a:noFill/>
          </a:ln>
        </p:spPr>
      </p:pic>
      <p:pic>
        <p:nvPicPr>
          <p:cNvPr id="6" name="Picture 5" descr="A picture containing text, clock, gauge&#10;&#10;Description automatically generated">
            <a:extLst>
              <a:ext uri="{FF2B5EF4-FFF2-40B4-BE49-F238E27FC236}">
                <a16:creationId xmlns:a16="http://schemas.microsoft.com/office/drawing/2014/main" id="{426C93CF-4034-D6EE-96EE-F25B2F94560F}"/>
              </a:ext>
            </a:extLst>
          </p:cNvPr>
          <p:cNvPicPr>
            <a:picLocks noChangeAspect="1"/>
          </p:cNvPicPr>
          <p:nvPr/>
        </p:nvPicPr>
        <p:blipFill>
          <a:blip r:embed="rId19"/>
          <a:stretch>
            <a:fillRect/>
          </a:stretch>
        </p:blipFill>
        <p:spPr>
          <a:xfrm>
            <a:off x="176282" y="1988866"/>
            <a:ext cx="855907" cy="312201"/>
          </a:xfrm>
          <a:prstGeom prst="rect">
            <a:avLst/>
          </a:prstGeom>
        </p:spPr>
      </p:pic>
      <p:pic>
        <p:nvPicPr>
          <p:cNvPr id="10" name="Picture 9" descr="Text, logo&#10;&#10;Description automatically generated">
            <a:extLst>
              <a:ext uri="{FF2B5EF4-FFF2-40B4-BE49-F238E27FC236}">
                <a16:creationId xmlns:a16="http://schemas.microsoft.com/office/drawing/2014/main" id="{2935C7A6-3F5A-4250-50A6-E37ABC495ED8}"/>
              </a:ext>
            </a:extLst>
          </p:cNvPr>
          <p:cNvPicPr>
            <a:picLocks noChangeAspect="1"/>
          </p:cNvPicPr>
          <p:nvPr/>
        </p:nvPicPr>
        <p:blipFill>
          <a:blip r:embed="rId20"/>
          <a:stretch>
            <a:fillRect/>
          </a:stretch>
        </p:blipFill>
        <p:spPr>
          <a:xfrm>
            <a:off x="1548795" y="2286953"/>
            <a:ext cx="2278003" cy="754061"/>
          </a:xfrm>
          <a:prstGeom prst="rect">
            <a:avLst/>
          </a:prstGeom>
        </p:spPr>
      </p:pic>
      <p:pic>
        <p:nvPicPr>
          <p:cNvPr id="7" name="Picture 6" descr="Text&#10;&#10;Description automatically generated">
            <a:extLst>
              <a:ext uri="{FF2B5EF4-FFF2-40B4-BE49-F238E27FC236}">
                <a16:creationId xmlns:a16="http://schemas.microsoft.com/office/drawing/2014/main" id="{B218BC9F-9DF6-4102-2C9F-8C11F3FFE73E}"/>
              </a:ext>
            </a:extLst>
          </p:cNvPr>
          <p:cNvPicPr>
            <a:picLocks noChangeAspect="1"/>
          </p:cNvPicPr>
          <p:nvPr/>
        </p:nvPicPr>
        <p:blipFill>
          <a:blip r:embed="rId21"/>
          <a:stretch>
            <a:fillRect/>
          </a:stretch>
        </p:blipFill>
        <p:spPr>
          <a:xfrm>
            <a:off x="3406371" y="4372886"/>
            <a:ext cx="1536919" cy="481185"/>
          </a:xfrm>
          <a:prstGeom prst="rect">
            <a:avLst/>
          </a:prstGeom>
        </p:spPr>
      </p:pic>
      <p:pic>
        <p:nvPicPr>
          <p:cNvPr id="3" name="Picture 2" descr="Blue letters on a white background&#10;&#10;Description automatically generated">
            <a:extLst>
              <a:ext uri="{FF2B5EF4-FFF2-40B4-BE49-F238E27FC236}">
                <a16:creationId xmlns:a16="http://schemas.microsoft.com/office/drawing/2014/main" id="{B7C5B775-8043-5139-D23C-B33C31D5DF74}"/>
              </a:ext>
            </a:extLst>
          </p:cNvPr>
          <p:cNvPicPr>
            <a:picLocks noChangeAspect="1"/>
          </p:cNvPicPr>
          <p:nvPr/>
        </p:nvPicPr>
        <p:blipFill>
          <a:blip r:embed="rId22"/>
          <a:stretch>
            <a:fillRect/>
          </a:stretch>
        </p:blipFill>
        <p:spPr>
          <a:xfrm>
            <a:off x="1203786" y="2973069"/>
            <a:ext cx="2355696" cy="402667"/>
          </a:xfrm>
          <a:prstGeom prst="rect">
            <a:avLst/>
          </a:prstGeom>
        </p:spPr>
      </p:pic>
      <p:pic>
        <p:nvPicPr>
          <p:cNvPr id="12" name="Picture 14">
            <a:extLst>
              <a:ext uri="{FF2B5EF4-FFF2-40B4-BE49-F238E27FC236}">
                <a16:creationId xmlns:a16="http://schemas.microsoft.com/office/drawing/2014/main" id="{7FF0C113-5E06-BF0A-03DC-B24009DD8D52}"/>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3849838" y="2631995"/>
            <a:ext cx="954584" cy="95502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red and black sign&#10;&#10;Description automatically generated">
            <a:extLst>
              <a:ext uri="{FF2B5EF4-FFF2-40B4-BE49-F238E27FC236}">
                <a16:creationId xmlns:a16="http://schemas.microsoft.com/office/drawing/2014/main" id="{E8522397-C43A-010A-F9A3-90B1E7DC0AD2}"/>
              </a:ext>
            </a:extLst>
          </p:cNvPr>
          <p:cNvPicPr>
            <a:picLocks noChangeAspect="1"/>
          </p:cNvPicPr>
          <p:nvPr/>
        </p:nvPicPr>
        <p:blipFill>
          <a:blip r:embed="rId24"/>
          <a:stretch>
            <a:fillRect/>
          </a:stretch>
        </p:blipFill>
        <p:spPr>
          <a:xfrm>
            <a:off x="25938" y="3695574"/>
            <a:ext cx="2355696" cy="434701"/>
          </a:xfrm>
          <a:prstGeom prst="rect">
            <a:avLst/>
          </a:prstGeom>
        </p:spPr>
      </p:pic>
      <p:pic>
        <p:nvPicPr>
          <p:cNvPr id="16" name="Picture 15">
            <a:extLst>
              <a:ext uri="{FF2B5EF4-FFF2-40B4-BE49-F238E27FC236}">
                <a16:creationId xmlns:a16="http://schemas.microsoft.com/office/drawing/2014/main" id="{EDA6D931-968D-7D31-FF4F-90C255EEC499}"/>
              </a:ext>
            </a:extLst>
          </p:cNvPr>
          <p:cNvPicPr>
            <a:picLocks noChangeAspect="1"/>
          </p:cNvPicPr>
          <p:nvPr/>
        </p:nvPicPr>
        <p:blipFill>
          <a:blip r:embed="rId25"/>
          <a:stretch>
            <a:fillRect/>
          </a:stretch>
        </p:blipFill>
        <p:spPr>
          <a:xfrm>
            <a:off x="5780398" y="3593012"/>
            <a:ext cx="2752958" cy="718451"/>
          </a:xfrm>
          <a:prstGeom prst="rect">
            <a:avLst/>
          </a:prstGeom>
        </p:spPr>
      </p:pic>
      <p:sp>
        <p:nvSpPr>
          <p:cNvPr id="8" name="Title 2">
            <a:extLst>
              <a:ext uri="{FF2B5EF4-FFF2-40B4-BE49-F238E27FC236}">
                <a16:creationId xmlns:a16="http://schemas.microsoft.com/office/drawing/2014/main" id="{F1BD7ACC-D08F-2023-06C3-7E549EC6C827}"/>
              </a:ext>
            </a:extLst>
          </p:cNvPr>
          <p:cNvSpPr txBox="1">
            <a:spLocks/>
          </p:cNvSpPr>
          <p:nvPr/>
        </p:nvSpPr>
        <p:spPr>
          <a:xfrm>
            <a:off x="857251" y="59945"/>
            <a:ext cx="7462661" cy="941541"/>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3200" b="1" kern="1200">
                <a:solidFill>
                  <a:srgbClr val="F28C11"/>
                </a:solidFill>
                <a:latin typeface="+mj-lt"/>
                <a:ea typeface="+mj-ea"/>
                <a:cs typeface="+mj-cs"/>
              </a:defRPr>
            </a:lvl1pPr>
          </a:lstStyle>
          <a:p>
            <a:r>
              <a:rPr lang="en-US"/>
              <a:t>ISMPP Would Like to Thank…</a:t>
            </a:r>
          </a:p>
        </p:txBody>
      </p:sp>
    </p:spTree>
    <p:extLst>
      <p:ext uri="{BB962C8B-B14F-4D97-AF65-F5344CB8AC3E}">
        <p14:creationId xmlns:p14="http://schemas.microsoft.com/office/powerpoint/2010/main" val="36283522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BEEB60F-D35B-4C49-BFC2-90738170489B}"/>
              </a:ext>
            </a:extLst>
          </p:cNvPr>
          <p:cNvSpPr>
            <a:spLocks noGrp="1"/>
          </p:cNvSpPr>
          <p:nvPr>
            <p:ph type="title"/>
          </p:nvPr>
        </p:nvSpPr>
        <p:spPr/>
        <p:txBody>
          <a:bodyPr/>
          <a:lstStyle/>
          <a:p>
            <a:r>
              <a:rPr lang="en-US"/>
              <a:t>Creating Pathways for Career Advancement</a:t>
            </a:r>
          </a:p>
        </p:txBody>
      </p:sp>
      <p:sp>
        <p:nvSpPr>
          <p:cNvPr id="4" name="Slide Number Placeholder 3">
            <a:extLst>
              <a:ext uri="{FF2B5EF4-FFF2-40B4-BE49-F238E27FC236}">
                <a16:creationId xmlns:a16="http://schemas.microsoft.com/office/drawing/2014/main" id="{E51EF01E-1ED8-40F0-AC1D-A5BB61279CDD}"/>
              </a:ext>
            </a:extLst>
          </p:cNvPr>
          <p:cNvSpPr>
            <a:spLocks noGrp="1"/>
          </p:cNvSpPr>
          <p:nvPr>
            <p:ph type="sldNum" sz="quarter" idx="10"/>
          </p:nvPr>
        </p:nvSpPr>
        <p:spPr/>
        <p:txBody>
          <a:bodyPr/>
          <a:lstStyle/>
          <a:p>
            <a:fld id="{42AD0A0E-4515-A647-B2E3-7F1B29FB990E}" type="slidenum">
              <a:rPr lang="en-US" smtClean="0"/>
              <a:pPr/>
              <a:t>20</a:t>
            </a:fld>
            <a:endParaRPr lang="en-US"/>
          </a:p>
        </p:txBody>
      </p:sp>
      <p:sp>
        <p:nvSpPr>
          <p:cNvPr id="2" name="TextBox 1">
            <a:extLst>
              <a:ext uri="{FF2B5EF4-FFF2-40B4-BE49-F238E27FC236}">
                <a16:creationId xmlns:a16="http://schemas.microsoft.com/office/drawing/2014/main" id="{1474C7DB-070F-0EB4-8730-4494236E03CD}"/>
              </a:ext>
            </a:extLst>
          </p:cNvPr>
          <p:cNvSpPr txBox="1"/>
          <p:nvPr/>
        </p:nvSpPr>
        <p:spPr>
          <a:xfrm>
            <a:off x="3000374" y="3237271"/>
            <a:ext cx="4580297" cy="715581"/>
          </a:xfrm>
          <a:prstGeom prst="rect">
            <a:avLst/>
          </a:prstGeom>
          <a:noFill/>
        </p:spPr>
        <p:txBody>
          <a:bodyPr wrap="square" lIns="91440" tIns="45720" rIns="91440" bIns="45720" rtlCol="0" anchor="t">
            <a:spAutoFit/>
          </a:bodyPr>
          <a:lstStyle/>
          <a:p>
            <a:r>
              <a:rPr lang="en-US"/>
              <a:t>Rachel Sopko Bibb, Associate Director Scientific Communications Operations, Alnylam</a:t>
            </a:r>
          </a:p>
          <a:p>
            <a:endParaRPr lang="en-US"/>
          </a:p>
        </p:txBody>
      </p:sp>
    </p:spTree>
    <p:extLst>
      <p:ext uri="{BB962C8B-B14F-4D97-AF65-F5344CB8AC3E}">
        <p14:creationId xmlns:p14="http://schemas.microsoft.com/office/powerpoint/2010/main" val="501350337"/>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DE1C8A-B453-C6E9-FE67-68C5EF97C459}"/>
              </a:ext>
            </a:extLst>
          </p:cNvPr>
          <p:cNvSpPr>
            <a:spLocks noGrp="1"/>
          </p:cNvSpPr>
          <p:nvPr>
            <p:ph type="title"/>
          </p:nvPr>
        </p:nvSpPr>
        <p:spPr/>
        <p:txBody>
          <a:bodyPr/>
          <a:lstStyle/>
          <a:p>
            <a:r>
              <a:rPr lang="en-US"/>
              <a:t>Why do career pathways matter?</a:t>
            </a:r>
          </a:p>
        </p:txBody>
      </p:sp>
      <p:sp>
        <p:nvSpPr>
          <p:cNvPr id="3" name="Content Placeholder 2">
            <a:extLst>
              <a:ext uri="{FF2B5EF4-FFF2-40B4-BE49-F238E27FC236}">
                <a16:creationId xmlns:a16="http://schemas.microsoft.com/office/drawing/2014/main" id="{7B089C6A-5704-28FC-4CE5-ED7709227EEE}"/>
              </a:ext>
            </a:extLst>
          </p:cNvPr>
          <p:cNvSpPr>
            <a:spLocks noGrp="1"/>
          </p:cNvSpPr>
          <p:nvPr>
            <p:ph sz="half" idx="1"/>
          </p:nvPr>
        </p:nvSpPr>
        <p:spPr>
          <a:xfrm>
            <a:off x="2527300" y="1080145"/>
            <a:ext cx="3689350" cy="393056"/>
          </a:xfrm>
        </p:spPr>
        <p:txBody>
          <a:bodyPr>
            <a:normAutofit fontScale="77500" lnSpcReduction="20000"/>
          </a:bodyPr>
          <a:lstStyle/>
          <a:p>
            <a:pPr marL="0" indent="0">
              <a:buNone/>
            </a:pPr>
            <a:r>
              <a:rPr lang="en-US" sz="2800" b="1">
                <a:solidFill>
                  <a:srgbClr val="FF0000"/>
                </a:solidFill>
                <a:highlight>
                  <a:srgbClr val="FFFF00"/>
                </a:highlight>
              </a:rPr>
              <a:t>Our Greatest Asset = PEOPLE</a:t>
            </a:r>
          </a:p>
          <a:p>
            <a:endParaRPr lang="en-US"/>
          </a:p>
        </p:txBody>
      </p:sp>
      <p:sp>
        <p:nvSpPr>
          <p:cNvPr id="4" name="Content Placeholder 3">
            <a:extLst>
              <a:ext uri="{FF2B5EF4-FFF2-40B4-BE49-F238E27FC236}">
                <a16:creationId xmlns:a16="http://schemas.microsoft.com/office/drawing/2014/main" id="{00FDE82C-744C-4025-17EC-C17950999133}"/>
              </a:ext>
            </a:extLst>
          </p:cNvPr>
          <p:cNvSpPr>
            <a:spLocks noGrp="1"/>
          </p:cNvSpPr>
          <p:nvPr>
            <p:ph sz="half" idx="2"/>
          </p:nvPr>
        </p:nvSpPr>
        <p:spPr>
          <a:xfrm>
            <a:off x="363713" y="1733550"/>
            <a:ext cx="5118750" cy="2676056"/>
          </a:xfrm>
        </p:spPr>
        <p:txBody>
          <a:bodyPr vert="horz" lIns="91440" tIns="45720" rIns="91440" bIns="45720" rtlCol="0" anchor="t">
            <a:normAutofit fontScale="77500" lnSpcReduction="20000"/>
          </a:bodyPr>
          <a:lstStyle/>
          <a:p>
            <a:r>
              <a:rPr lang="en-US" sz="2300"/>
              <a:t>In medical communications, we work with highly driven individuals that have specialized knowledge sets.   We have a “very particular set of skills”</a:t>
            </a:r>
          </a:p>
          <a:p>
            <a:r>
              <a:rPr lang="en-US" sz="2300"/>
              <a:t>Strong competition within the industry</a:t>
            </a:r>
          </a:p>
          <a:p>
            <a:r>
              <a:rPr lang="en-US" sz="2300"/>
              <a:t>Employees are looking toward their futures</a:t>
            </a:r>
          </a:p>
          <a:p>
            <a:pPr lvl="1">
              <a:buFont typeface="Courier New" panose="020B0604020202020204" pitchFamily="34" charset="0"/>
              <a:buChar char="o"/>
            </a:pPr>
            <a:r>
              <a:rPr lang="en-US" sz="2100"/>
              <a:t>Several surveys indicate more than half of employees are seeking new jobs</a:t>
            </a:r>
            <a:endParaRPr lang="en-US" sz="1900"/>
          </a:p>
          <a:p>
            <a:pPr marL="0" indent="0">
              <a:buNone/>
            </a:pPr>
            <a:endParaRPr lang="en-US"/>
          </a:p>
        </p:txBody>
      </p:sp>
      <p:sp>
        <p:nvSpPr>
          <p:cNvPr id="5" name="Slide Number Placeholder 4">
            <a:extLst>
              <a:ext uri="{FF2B5EF4-FFF2-40B4-BE49-F238E27FC236}">
                <a16:creationId xmlns:a16="http://schemas.microsoft.com/office/drawing/2014/main" id="{6FE095C2-105B-EB5F-7E24-9DC88E9DABB4}"/>
              </a:ext>
            </a:extLst>
          </p:cNvPr>
          <p:cNvSpPr>
            <a:spLocks noGrp="1"/>
          </p:cNvSpPr>
          <p:nvPr>
            <p:ph type="sldNum" sz="quarter" idx="10"/>
          </p:nvPr>
        </p:nvSpPr>
        <p:spPr/>
        <p:txBody>
          <a:bodyPr/>
          <a:lstStyle/>
          <a:p>
            <a:fld id="{42AD0A0E-4515-A647-B2E3-7F1B29FB990E}" type="slidenum">
              <a:rPr lang="en-US" smtClean="0"/>
              <a:pPr/>
              <a:t>21</a:t>
            </a:fld>
            <a:endParaRPr lang="en-US"/>
          </a:p>
        </p:txBody>
      </p:sp>
      <p:sp>
        <p:nvSpPr>
          <p:cNvPr id="7" name="TextBox 7">
            <a:extLst>
              <a:ext uri="{FF2B5EF4-FFF2-40B4-BE49-F238E27FC236}">
                <a16:creationId xmlns:a16="http://schemas.microsoft.com/office/drawing/2014/main" id="{43738396-9D54-7FF3-26E6-368F0E073572}"/>
              </a:ext>
            </a:extLst>
          </p:cNvPr>
          <p:cNvSpPr txBox="1"/>
          <p:nvPr/>
        </p:nvSpPr>
        <p:spPr>
          <a:xfrm>
            <a:off x="111759" y="4612722"/>
            <a:ext cx="6873727" cy="307777"/>
          </a:xfrm>
          <a:prstGeom prst="rect">
            <a:avLst/>
          </a:prstGeom>
          <a:noFill/>
        </p:spPr>
        <p:txBody>
          <a:bodyPr wrap="square">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00">
                <a:hlinkClick r:id="rId3"/>
              </a:rPr>
              <a:t>•70% of Gen Z and millennials are considering leaving their jobs soon (cnbc.com)</a:t>
            </a:r>
            <a:endParaRPr lang="en-US" sz="700"/>
          </a:p>
          <a:p>
            <a:r>
              <a:rPr lang="en-US" sz="700">
                <a:hlinkClick r:id="rId4"/>
              </a:rPr>
              <a:t>• Half of Your Employees Are Looking to Leave (gallup.com)</a:t>
            </a:r>
            <a:endParaRPr lang="en-US" sz="700"/>
          </a:p>
        </p:txBody>
      </p:sp>
      <p:pic>
        <p:nvPicPr>
          <p:cNvPr id="8" name="Picture 7" descr="A group of people cheering with their hands up&#10;&#10;Description automatically generated">
            <a:extLst>
              <a:ext uri="{FF2B5EF4-FFF2-40B4-BE49-F238E27FC236}">
                <a16:creationId xmlns:a16="http://schemas.microsoft.com/office/drawing/2014/main" id="{7E5585B0-F483-575F-3DEB-2E34B240271C}"/>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5618581" y="1958464"/>
            <a:ext cx="3287563" cy="2229390"/>
          </a:xfrm>
          <a:prstGeom prst="rect">
            <a:avLst/>
          </a:prstGeom>
        </p:spPr>
      </p:pic>
      <p:sp>
        <p:nvSpPr>
          <p:cNvPr id="9" name="TextBox 8">
            <a:extLst>
              <a:ext uri="{FF2B5EF4-FFF2-40B4-BE49-F238E27FC236}">
                <a16:creationId xmlns:a16="http://schemas.microsoft.com/office/drawing/2014/main" id="{60EF63AC-B18E-352C-81A5-DB0752263E98}"/>
              </a:ext>
            </a:extLst>
          </p:cNvPr>
          <p:cNvSpPr txBox="1"/>
          <p:nvPr/>
        </p:nvSpPr>
        <p:spPr>
          <a:xfrm>
            <a:off x="5834242" y="4177073"/>
            <a:ext cx="3071903" cy="123406"/>
          </a:xfrm>
          <a:prstGeom prst="rect">
            <a:avLst/>
          </a:prstGeom>
        </p:spPr>
        <p:txBody>
          <a:bodyPr lIns="91440" tIns="45720" rIns="91440" bIns="45720" anchor="t">
            <a:noAutofit/>
          </a:bodyPr>
          <a:lstStyle/>
          <a:p>
            <a:r>
              <a:rPr lang="en-US" sz="700" err="1"/>
              <a:t>ThePhoto</a:t>
            </a:r>
            <a:r>
              <a:rPr lang="en-US" sz="700"/>
              <a:t> by </a:t>
            </a:r>
            <a:r>
              <a:rPr lang="en-US" sz="700" err="1"/>
              <a:t>PhotoAuthor</a:t>
            </a:r>
            <a:r>
              <a:rPr lang="en-US" sz="700"/>
              <a:t> is licensed under CCYYSA.</a:t>
            </a:r>
          </a:p>
        </p:txBody>
      </p:sp>
    </p:spTree>
    <p:extLst>
      <p:ext uri="{BB962C8B-B14F-4D97-AF65-F5344CB8AC3E}">
        <p14:creationId xmlns:p14="http://schemas.microsoft.com/office/powerpoint/2010/main" val="3780070035"/>
      </p:ext>
    </p:extLst>
  </p:cSld>
  <p:clrMapOvr>
    <a:masterClrMapping/>
  </p:clrMapOvr>
  <p:transition spd="slow">
    <p:wip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DE1C8A-B453-C6E9-FE67-68C5EF97C459}"/>
              </a:ext>
            </a:extLst>
          </p:cNvPr>
          <p:cNvSpPr>
            <a:spLocks noGrp="1"/>
          </p:cNvSpPr>
          <p:nvPr>
            <p:ph type="title"/>
          </p:nvPr>
        </p:nvSpPr>
        <p:spPr/>
        <p:txBody>
          <a:bodyPr/>
          <a:lstStyle/>
          <a:p>
            <a:r>
              <a:rPr lang="en-US"/>
              <a:t>Why do career pathways matter?</a:t>
            </a:r>
          </a:p>
        </p:txBody>
      </p:sp>
      <p:sp>
        <p:nvSpPr>
          <p:cNvPr id="3" name="Content Placeholder 2">
            <a:extLst>
              <a:ext uri="{FF2B5EF4-FFF2-40B4-BE49-F238E27FC236}">
                <a16:creationId xmlns:a16="http://schemas.microsoft.com/office/drawing/2014/main" id="{7B089C6A-5704-28FC-4CE5-ED7709227EEE}"/>
              </a:ext>
            </a:extLst>
          </p:cNvPr>
          <p:cNvSpPr>
            <a:spLocks noGrp="1"/>
          </p:cNvSpPr>
          <p:nvPr>
            <p:ph sz="half" idx="1"/>
          </p:nvPr>
        </p:nvSpPr>
        <p:spPr>
          <a:xfrm>
            <a:off x="2527300" y="1080145"/>
            <a:ext cx="3689350" cy="393056"/>
          </a:xfrm>
        </p:spPr>
        <p:txBody>
          <a:bodyPr>
            <a:normAutofit fontScale="77500" lnSpcReduction="20000"/>
          </a:bodyPr>
          <a:lstStyle/>
          <a:p>
            <a:pPr marL="0" indent="0">
              <a:buNone/>
            </a:pPr>
            <a:r>
              <a:rPr lang="en-US" sz="2800" b="1">
                <a:solidFill>
                  <a:srgbClr val="FF0000"/>
                </a:solidFill>
                <a:highlight>
                  <a:srgbClr val="FFFF00"/>
                </a:highlight>
              </a:rPr>
              <a:t>Our Greatest Asset = PEOPLE</a:t>
            </a:r>
          </a:p>
          <a:p>
            <a:endParaRPr lang="en-US"/>
          </a:p>
        </p:txBody>
      </p:sp>
      <p:graphicFrame>
        <p:nvGraphicFramePr>
          <p:cNvPr id="7" name="Content Placeholder 3">
            <a:extLst>
              <a:ext uri="{FF2B5EF4-FFF2-40B4-BE49-F238E27FC236}">
                <a16:creationId xmlns:a16="http://schemas.microsoft.com/office/drawing/2014/main" id="{D8B8E521-88B8-531F-3C9A-9F1EA5453292}"/>
              </a:ext>
            </a:extLst>
          </p:cNvPr>
          <p:cNvGraphicFramePr>
            <a:graphicFrameLocks noGrp="1"/>
          </p:cNvGraphicFramePr>
          <p:nvPr>
            <p:ph sz="half" idx="2"/>
          </p:nvPr>
        </p:nvGraphicFramePr>
        <p:xfrm>
          <a:off x="363713" y="1733550"/>
          <a:ext cx="7956197" cy="26760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Slide Number Placeholder 4">
            <a:extLst>
              <a:ext uri="{FF2B5EF4-FFF2-40B4-BE49-F238E27FC236}">
                <a16:creationId xmlns:a16="http://schemas.microsoft.com/office/drawing/2014/main" id="{6FE095C2-105B-EB5F-7E24-9DC88E9DABB4}"/>
              </a:ext>
            </a:extLst>
          </p:cNvPr>
          <p:cNvSpPr>
            <a:spLocks noGrp="1"/>
          </p:cNvSpPr>
          <p:nvPr>
            <p:ph type="sldNum" sz="quarter" idx="10"/>
          </p:nvPr>
        </p:nvSpPr>
        <p:spPr/>
        <p:txBody>
          <a:bodyPr/>
          <a:lstStyle/>
          <a:p>
            <a:fld id="{42AD0A0E-4515-A647-B2E3-7F1B29FB990E}" type="slidenum">
              <a:rPr lang="en-US" smtClean="0"/>
              <a:pPr/>
              <a:t>22</a:t>
            </a:fld>
            <a:endParaRPr lang="en-US"/>
          </a:p>
        </p:txBody>
      </p:sp>
    </p:spTree>
    <p:extLst>
      <p:ext uri="{BB962C8B-B14F-4D97-AF65-F5344CB8AC3E}">
        <p14:creationId xmlns:p14="http://schemas.microsoft.com/office/powerpoint/2010/main" val="371221313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DE1C8A-B453-C6E9-FE67-68C5EF97C459}"/>
              </a:ext>
            </a:extLst>
          </p:cNvPr>
          <p:cNvSpPr>
            <a:spLocks noGrp="1"/>
          </p:cNvSpPr>
          <p:nvPr>
            <p:ph type="title"/>
          </p:nvPr>
        </p:nvSpPr>
        <p:spPr/>
        <p:txBody>
          <a:bodyPr/>
          <a:lstStyle/>
          <a:p>
            <a:r>
              <a:rPr lang="en-US"/>
              <a:t>What Can We Do?</a:t>
            </a:r>
          </a:p>
        </p:txBody>
      </p:sp>
      <p:graphicFrame>
        <p:nvGraphicFramePr>
          <p:cNvPr id="9" name="Content Placeholder 3">
            <a:extLst>
              <a:ext uri="{FF2B5EF4-FFF2-40B4-BE49-F238E27FC236}">
                <a16:creationId xmlns:a16="http://schemas.microsoft.com/office/drawing/2014/main" id="{BBCE7971-9CBC-5251-EC87-4FD85E51CFF0}"/>
              </a:ext>
            </a:extLst>
          </p:cNvPr>
          <p:cNvGraphicFramePr>
            <a:graphicFrameLocks noGrp="1"/>
          </p:cNvGraphicFramePr>
          <p:nvPr>
            <p:ph sz="half" idx="2"/>
            <p:extLst>
              <p:ext uri="{D42A27DB-BD31-4B8C-83A1-F6EECF244321}">
                <p14:modId xmlns:p14="http://schemas.microsoft.com/office/powerpoint/2010/main" val="4004625686"/>
              </p:ext>
            </p:extLst>
          </p:nvPr>
        </p:nvGraphicFramePr>
        <p:xfrm>
          <a:off x="502984" y="1066676"/>
          <a:ext cx="7825458" cy="32635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Slide Number Placeholder 4">
            <a:extLst>
              <a:ext uri="{FF2B5EF4-FFF2-40B4-BE49-F238E27FC236}">
                <a16:creationId xmlns:a16="http://schemas.microsoft.com/office/drawing/2014/main" id="{6FE095C2-105B-EB5F-7E24-9DC88E9DABB4}"/>
              </a:ext>
            </a:extLst>
          </p:cNvPr>
          <p:cNvSpPr>
            <a:spLocks noGrp="1"/>
          </p:cNvSpPr>
          <p:nvPr>
            <p:ph type="sldNum" sz="quarter" idx="10"/>
          </p:nvPr>
        </p:nvSpPr>
        <p:spPr/>
        <p:txBody>
          <a:bodyPr/>
          <a:lstStyle/>
          <a:p>
            <a:fld id="{42AD0A0E-4515-A647-B2E3-7F1B29FB990E}" type="slidenum">
              <a:rPr lang="en-US" smtClean="0"/>
              <a:pPr/>
              <a:t>23</a:t>
            </a:fld>
            <a:endParaRPr lang="en-US"/>
          </a:p>
        </p:txBody>
      </p:sp>
      <p:sp>
        <p:nvSpPr>
          <p:cNvPr id="7" name="TextBox 6">
            <a:extLst>
              <a:ext uri="{FF2B5EF4-FFF2-40B4-BE49-F238E27FC236}">
                <a16:creationId xmlns:a16="http://schemas.microsoft.com/office/drawing/2014/main" id="{4E64930A-F30E-905A-9AC5-181BCD7CDF81}"/>
              </a:ext>
            </a:extLst>
          </p:cNvPr>
          <p:cNvSpPr txBox="1"/>
          <p:nvPr/>
        </p:nvSpPr>
        <p:spPr>
          <a:xfrm>
            <a:off x="118534" y="4621890"/>
            <a:ext cx="4572000" cy="461665"/>
          </a:xfrm>
          <a:prstGeom prst="rect">
            <a:avLst/>
          </a:prstGeom>
          <a:noFill/>
        </p:spPr>
        <p:txBody>
          <a:bodyPr wrap="square">
            <a:spAutoFit/>
          </a:bodyPr>
          <a:lstStyle/>
          <a:p>
            <a:r>
              <a:rPr lang="en-US" sz="800">
                <a:hlinkClick r:id="rId8"/>
              </a:rPr>
              <a:t>• Beyond Money: The Real Reasons Employees Stay Or Leave (forbes.com)</a:t>
            </a:r>
            <a:r>
              <a:rPr lang="en-US" sz="800"/>
              <a:t> </a:t>
            </a:r>
          </a:p>
          <a:p>
            <a:r>
              <a:rPr lang="en-US" sz="800"/>
              <a:t>• </a:t>
            </a:r>
            <a:r>
              <a:rPr lang="en-US" sz="800">
                <a:hlinkClick r:id="rId9"/>
              </a:rPr>
              <a:t>Why employees are quitting and what to do about it (mckinsey.com)</a:t>
            </a:r>
            <a:r>
              <a:rPr lang="en-US" sz="800">
                <a:hlinkClick r:id="rId10"/>
              </a:rPr>
              <a:t> </a:t>
            </a:r>
          </a:p>
          <a:p>
            <a:r>
              <a:rPr lang="en-US" sz="800">
                <a:hlinkClick r:id="rId10"/>
              </a:rPr>
              <a:t>• Why People Quit Their Jobs—and How Employers Can Stop It | TIME</a:t>
            </a:r>
            <a:endParaRPr lang="en-US" sz="800"/>
          </a:p>
        </p:txBody>
      </p:sp>
    </p:spTree>
    <p:extLst>
      <p:ext uri="{BB962C8B-B14F-4D97-AF65-F5344CB8AC3E}">
        <p14:creationId xmlns:p14="http://schemas.microsoft.com/office/powerpoint/2010/main" val="1199922990"/>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2659FDB4-FCBE-4A89-B46D-43D4FA5446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234"/>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 name="Title 1">
            <a:extLst>
              <a:ext uri="{FF2B5EF4-FFF2-40B4-BE49-F238E27FC236}">
                <a16:creationId xmlns:a16="http://schemas.microsoft.com/office/drawing/2014/main" id="{81DE1C8A-B453-C6E9-FE67-68C5EF97C459}"/>
              </a:ext>
            </a:extLst>
          </p:cNvPr>
          <p:cNvSpPr>
            <a:spLocks noGrp="1"/>
          </p:cNvSpPr>
          <p:nvPr>
            <p:ph type="title"/>
          </p:nvPr>
        </p:nvSpPr>
        <p:spPr>
          <a:xfrm>
            <a:off x="359545" y="803100"/>
            <a:ext cx="2954766" cy="4187344"/>
          </a:xfrm>
        </p:spPr>
        <p:txBody>
          <a:bodyPr vert="horz" lIns="91440" tIns="45720" rIns="91440" bIns="45720" rtlCol="0" anchor="ctr">
            <a:normAutofit/>
          </a:bodyPr>
          <a:lstStyle/>
          <a:p>
            <a:pPr algn="r" defTabSz="914400"/>
            <a:r>
              <a:rPr lang="en-US" sz="6000" kern="1200">
                <a:solidFill>
                  <a:schemeClr val="tx1"/>
                </a:solidFill>
                <a:latin typeface="+mj-lt"/>
                <a:ea typeface="+mj-ea"/>
                <a:cs typeface="+mj-cs"/>
              </a:rPr>
              <a:t>What </a:t>
            </a:r>
            <a:r>
              <a:rPr lang="en-US" sz="6000">
                <a:solidFill>
                  <a:schemeClr val="tx1"/>
                </a:solidFill>
              </a:rPr>
              <a:t>Else Can</a:t>
            </a:r>
            <a:r>
              <a:rPr lang="en-US" sz="6000" kern="1200">
                <a:solidFill>
                  <a:schemeClr val="tx1"/>
                </a:solidFill>
                <a:latin typeface="+mj-lt"/>
                <a:ea typeface="+mj-ea"/>
                <a:cs typeface="+mj-cs"/>
              </a:rPr>
              <a:t> We Do?</a:t>
            </a:r>
          </a:p>
        </p:txBody>
      </p:sp>
      <p:sp>
        <p:nvSpPr>
          <p:cNvPr id="5" name="Slide Number Placeholder 4">
            <a:extLst>
              <a:ext uri="{FF2B5EF4-FFF2-40B4-BE49-F238E27FC236}">
                <a16:creationId xmlns:a16="http://schemas.microsoft.com/office/drawing/2014/main" id="{6FE095C2-105B-EB5F-7E24-9DC88E9DABB4}"/>
              </a:ext>
            </a:extLst>
          </p:cNvPr>
          <p:cNvSpPr>
            <a:spLocks noGrp="1"/>
          </p:cNvSpPr>
          <p:nvPr>
            <p:ph type="sldNum" sz="quarter" idx="10"/>
          </p:nvPr>
        </p:nvSpPr>
        <p:spPr>
          <a:xfrm>
            <a:off x="6457950" y="240300"/>
            <a:ext cx="2057400" cy="273843"/>
          </a:xfrm>
        </p:spPr>
        <p:txBody>
          <a:bodyPr vert="horz" lIns="91440" tIns="45720" rIns="91440" bIns="45720" rtlCol="0" anchor="ctr">
            <a:normAutofit/>
          </a:bodyPr>
          <a:lstStyle/>
          <a:p>
            <a:pPr defTabSz="914400">
              <a:lnSpc>
                <a:spcPct val="90000"/>
              </a:lnSpc>
              <a:spcAft>
                <a:spcPts val="600"/>
              </a:spcAft>
            </a:pPr>
            <a:fld id="{42AD0A0E-4515-A647-B2E3-7F1B29FB990E}" type="slidenum">
              <a:rPr lang="en-US" sz="1200">
                <a:solidFill>
                  <a:schemeClr val="tx1">
                    <a:alpha val="60000"/>
                  </a:schemeClr>
                </a:solidFill>
              </a:rPr>
              <a:pPr defTabSz="914400">
                <a:lnSpc>
                  <a:spcPct val="90000"/>
                </a:lnSpc>
                <a:spcAft>
                  <a:spcPts val="600"/>
                </a:spcAft>
              </a:pPr>
              <a:t>24</a:t>
            </a:fld>
            <a:endParaRPr lang="en-US" sz="1200">
              <a:solidFill>
                <a:schemeClr val="tx1">
                  <a:alpha val="60000"/>
                </a:schemeClr>
              </a:solidFill>
            </a:endParaRPr>
          </a:p>
        </p:txBody>
      </p:sp>
      <p:cxnSp>
        <p:nvCxnSpPr>
          <p:cNvPr id="13" name="Straight Connector 12">
            <a:extLst>
              <a:ext uri="{FF2B5EF4-FFF2-40B4-BE49-F238E27FC236}">
                <a16:creationId xmlns:a16="http://schemas.microsoft.com/office/drawing/2014/main" id="{C8F51B3F-8331-4E4A-AE96-D47B1006EEA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546039" y="849085"/>
            <a:ext cx="0" cy="4288180"/>
          </a:xfrm>
          <a:prstGeom prst="line">
            <a:avLst/>
          </a:prstGeom>
          <a:ln w="25400" cap="sq">
            <a:gradFill flip="none" rotWithShape="1">
              <a:gsLst>
                <a:gs pos="0">
                  <a:schemeClr val="accent1"/>
                </a:gs>
                <a:gs pos="100000">
                  <a:schemeClr val="accent2"/>
                </a:gs>
              </a:gsLst>
              <a:lin ang="16200000" scaled="1"/>
              <a:tileRect/>
            </a:gradFill>
            <a:bevel/>
          </a:ln>
        </p:spPr>
        <p:style>
          <a:lnRef idx="1">
            <a:schemeClr val="accent1"/>
          </a:lnRef>
          <a:fillRef idx="0">
            <a:schemeClr val="accent1"/>
          </a:fillRef>
          <a:effectRef idx="0">
            <a:schemeClr val="accent1"/>
          </a:effectRef>
          <a:fontRef idx="minor">
            <a:schemeClr val="tx1"/>
          </a:fontRef>
        </p:style>
      </p:cxnSp>
      <p:graphicFrame>
        <p:nvGraphicFramePr>
          <p:cNvPr id="7" name="Content Placeholder 3">
            <a:extLst>
              <a:ext uri="{FF2B5EF4-FFF2-40B4-BE49-F238E27FC236}">
                <a16:creationId xmlns:a16="http://schemas.microsoft.com/office/drawing/2014/main" id="{7B56A61F-65EA-70FB-7554-72D7AE3673B9}"/>
              </a:ext>
            </a:extLst>
          </p:cNvPr>
          <p:cNvGraphicFramePr>
            <a:graphicFrameLocks noGrp="1"/>
          </p:cNvGraphicFramePr>
          <p:nvPr>
            <p:ph sz="half" idx="2"/>
            <p:extLst>
              <p:ext uri="{D42A27DB-BD31-4B8C-83A1-F6EECF244321}">
                <p14:modId xmlns:p14="http://schemas.microsoft.com/office/powerpoint/2010/main" val="2670649870"/>
              </p:ext>
            </p:extLst>
          </p:nvPr>
        </p:nvGraphicFramePr>
        <p:xfrm>
          <a:off x="3831401" y="803100"/>
          <a:ext cx="4683949" cy="41920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33860016"/>
      </p:ext>
    </p:extLst>
  </p:cSld>
  <p:clrMapOvr>
    <a:masterClrMapping/>
  </p:clrMapOvr>
  <p:transition spd="slow">
    <p:comb/>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0"/>
            <a:ext cx="9143999" cy="1181966"/>
          </a:xfrm>
          <a:prstGeom prst="rect">
            <a:avLst/>
          </a:prstGeom>
          <a:gradFill>
            <a:gsLst>
              <a:gs pos="0">
                <a:srgbClr val="000000">
                  <a:alpha val="96000"/>
                </a:srgbClr>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6096642" y="0"/>
            <a:ext cx="3047358" cy="1182309"/>
          </a:xfrm>
          <a:prstGeom prst="rect">
            <a:avLst/>
          </a:prstGeom>
          <a:gradFill>
            <a:gsLst>
              <a:gs pos="19000">
                <a:schemeClr val="accent1">
                  <a:lumMod val="50000"/>
                  <a:alpha val="68000"/>
                </a:schemeClr>
              </a:gs>
              <a:gs pos="100000">
                <a:schemeClr val="accent1">
                  <a:alpha val="79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3980833" y="-3980834"/>
            <a:ext cx="1182335" cy="9144002"/>
          </a:xfrm>
          <a:prstGeom prst="rect">
            <a:avLst/>
          </a:prstGeom>
          <a:gradFill>
            <a:gsLst>
              <a:gs pos="23000">
                <a:schemeClr val="accent1">
                  <a:alpha val="0"/>
                </a:schemeClr>
              </a:gs>
              <a:gs pos="99000">
                <a:srgbClr val="000000">
                  <a:alpha val="74000"/>
                </a:srgbClr>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1DE1C8A-B453-C6E9-FE67-68C5EF97C459}"/>
              </a:ext>
            </a:extLst>
          </p:cNvPr>
          <p:cNvSpPr>
            <a:spLocks noGrp="1"/>
          </p:cNvSpPr>
          <p:nvPr>
            <p:ph type="title"/>
          </p:nvPr>
        </p:nvSpPr>
        <p:spPr>
          <a:xfrm>
            <a:off x="1028697" y="261648"/>
            <a:ext cx="7533018" cy="658297"/>
          </a:xfrm>
        </p:spPr>
        <p:txBody>
          <a:bodyPr vert="horz" lIns="91440" tIns="45720" rIns="91440" bIns="45720" rtlCol="0" anchor="ctr">
            <a:normAutofit/>
          </a:bodyPr>
          <a:lstStyle/>
          <a:p>
            <a:pPr defTabSz="914400"/>
            <a:r>
              <a:rPr lang="en-US" sz="3000" kern="1200">
                <a:solidFill>
                  <a:srgbClr val="FFFFFF"/>
                </a:solidFill>
                <a:latin typeface="+mj-lt"/>
                <a:ea typeface="+mj-ea"/>
                <a:cs typeface="+mj-cs"/>
              </a:rPr>
              <a:t>What Resources Are Available?</a:t>
            </a:r>
          </a:p>
        </p:txBody>
      </p:sp>
      <p:sp>
        <p:nvSpPr>
          <p:cNvPr id="5" name="Slide Number Placeholder 4">
            <a:extLst>
              <a:ext uri="{FF2B5EF4-FFF2-40B4-BE49-F238E27FC236}">
                <a16:creationId xmlns:a16="http://schemas.microsoft.com/office/drawing/2014/main" id="{6FE095C2-105B-EB5F-7E24-9DC88E9DABB4}"/>
              </a:ext>
            </a:extLst>
          </p:cNvPr>
          <p:cNvSpPr>
            <a:spLocks noGrp="1"/>
          </p:cNvSpPr>
          <p:nvPr>
            <p:ph type="sldNum" sz="quarter" idx="10"/>
          </p:nvPr>
        </p:nvSpPr>
        <p:spPr>
          <a:xfrm>
            <a:off x="8778240" y="4841748"/>
            <a:ext cx="336042" cy="273843"/>
          </a:xfrm>
        </p:spPr>
        <p:txBody>
          <a:bodyPr vert="horz" lIns="91440" tIns="45720" rIns="91440" bIns="45720" rtlCol="0" anchor="ctr">
            <a:normAutofit/>
          </a:bodyPr>
          <a:lstStyle/>
          <a:p>
            <a:pPr defTabSz="914400">
              <a:spcAft>
                <a:spcPts val="600"/>
              </a:spcAft>
            </a:pPr>
            <a:fld id="{42AD0A0E-4515-A647-B2E3-7F1B29FB990E}" type="slidenum">
              <a:rPr lang="en-US" sz="800">
                <a:solidFill>
                  <a:schemeClr val="tx1">
                    <a:lumMod val="50000"/>
                    <a:lumOff val="50000"/>
                  </a:schemeClr>
                </a:solidFill>
              </a:rPr>
              <a:pPr defTabSz="914400">
                <a:spcAft>
                  <a:spcPts val="600"/>
                </a:spcAft>
              </a:pPr>
              <a:t>25</a:t>
            </a:fld>
            <a:endParaRPr lang="en-US" sz="800">
              <a:solidFill>
                <a:schemeClr val="tx1">
                  <a:lumMod val="50000"/>
                  <a:lumOff val="50000"/>
                </a:schemeClr>
              </a:solidFill>
            </a:endParaRPr>
          </a:p>
        </p:txBody>
      </p:sp>
      <p:graphicFrame>
        <p:nvGraphicFramePr>
          <p:cNvPr id="7" name="Content Placeholder 2">
            <a:extLst>
              <a:ext uri="{FF2B5EF4-FFF2-40B4-BE49-F238E27FC236}">
                <a16:creationId xmlns:a16="http://schemas.microsoft.com/office/drawing/2014/main" id="{BB29E2AF-4436-C47E-5FE0-75686A600E07}"/>
              </a:ext>
            </a:extLst>
          </p:cNvPr>
          <p:cNvGraphicFramePr>
            <a:graphicFrameLocks noGrp="1"/>
          </p:cNvGraphicFramePr>
          <p:nvPr>
            <p:ph sz="half" idx="1"/>
            <p:extLst>
              <p:ext uri="{D42A27DB-BD31-4B8C-83A1-F6EECF244321}">
                <p14:modId xmlns:p14="http://schemas.microsoft.com/office/powerpoint/2010/main" val="4204998684"/>
              </p:ext>
            </p:extLst>
          </p:nvPr>
        </p:nvGraphicFramePr>
        <p:xfrm>
          <a:off x="483042" y="1584434"/>
          <a:ext cx="8195871" cy="31446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752257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9274F6-7975-6098-8212-4E0884C89586}"/>
              </a:ext>
            </a:extLst>
          </p:cNvPr>
          <p:cNvSpPr>
            <a:spLocks noGrp="1"/>
          </p:cNvSpPr>
          <p:nvPr>
            <p:ph type="ctrTitle"/>
          </p:nvPr>
        </p:nvSpPr>
        <p:spPr/>
        <p:txBody>
          <a:bodyPr/>
          <a:lstStyle/>
          <a:p>
            <a:r>
              <a:rPr lang="en-US"/>
              <a:t>Panel Discussion</a:t>
            </a:r>
          </a:p>
        </p:txBody>
      </p:sp>
    </p:spTree>
    <p:extLst>
      <p:ext uri="{BB962C8B-B14F-4D97-AF65-F5344CB8AC3E}">
        <p14:creationId xmlns:p14="http://schemas.microsoft.com/office/powerpoint/2010/main" val="3674961419"/>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C0F6E1-CF8B-4BCF-8E73-237513D9EA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a:extLst>
                          <a:ext uri="{FF2B5EF4-FFF2-40B4-BE49-F238E27FC236}">
                            <a16:creationId xmlns:a16="http://schemas.microsoft.com/office/drawing/2014/main" id="{56C0F6E1-CF8B-4BCF-8E73-237513D9EAF9}"/>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C5B36683-8DFF-4DF9-8CF4-0FE412B2B489}"/>
              </a:ext>
            </a:extLst>
          </p:cNvPr>
          <p:cNvSpPr>
            <a:spLocks noGrp="1"/>
          </p:cNvSpPr>
          <p:nvPr>
            <p:ph type="title"/>
          </p:nvPr>
        </p:nvSpPr>
        <p:spPr/>
        <p:txBody>
          <a:bodyPr>
            <a:normAutofit/>
          </a:bodyPr>
          <a:lstStyle/>
          <a:p>
            <a:r>
              <a:rPr lang="en-US" sz="3075"/>
              <a:t>Audience Q&amp;A</a:t>
            </a:r>
          </a:p>
        </p:txBody>
      </p:sp>
      <p:sp>
        <p:nvSpPr>
          <p:cNvPr id="12" name="Text Placeholder 7">
            <a:extLst>
              <a:ext uri="{FF2B5EF4-FFF2-40B4-BE49-F238E27FC236}">
                <a16:creationId xmlns:a16="http://schemas.microsoft.com/office/drawing/2014/main" id="{DFE67A4E-1222-4DAC-B542-A206577A15CD}"/>
              </a:ext>
            </a:extLst>
          </p:cNvPr>
          <p:cNvSpPr txBox="1">
            <a:spLocks/>
          </p:cNvSpPr>
          <p:nvPr/>
        </p:nvSpPr>
        <p:spPr>
          <a:xfrm>
            <a:off x="3000376" y="3157539"/>
            <a:ext cx="5510213" cy="995012"/>
          </a:xfrm>
          <a:prstGeom prst="roundRect">
            <a:avLst/>
          </a:prstGeom>
          <a:noFill/>
          <a:ln w="12700" cap="flat" cmpd="sng" algn="ctr">
            <a:solidFill>
              <a:schemeClr val="accent6"/>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marL="0" indent="0" algn="l" defTabSz="685800" rtl="0" eaLnBrk="1" latinLnBrk="0" hangingPunct="1">
              <a:lnSpc>
                <a:spcPct val="90000"/>
              </a:lnSpc>
              <a:spcBef>
                <a:spcPts val="750"/>
              </a:spcBef>
              <a:buClr>
                <a:srgbClr val="F28C11"/>
              </a:buClr>
              <a:buFont typeface="Arial" panose="020B0604020202020204" pitchFamily="34" charset="0"/>
              <a:buNone/>
              <a:defRPr sz="2400" b="1" i="0" kern="1200">
                <a:solidFill>
                  <a:schemeClr val="tx1"/>
                </a:solidFill>
                <a:latin typeface="+mn-lt"/>
                <a:ea typeface="+mn-ea"/>
                <a:cs typeface="+mn-cs"/>
              </a:defRPr>
            </a:lvl1pPr>
            <a:lvl2pPr marL="342900" indent="0" algn="l" defTabSz="685800" rtl="0" eaLnBrk="1" latinLnBrk="0" hangingPunct="1">
              <a:lnSpc>
                <a:spcPct val="90000"/>
              </a:lnSpc>
              <a:spcBef>
                <a:spcPts val="375"/>
              </a:spcBef>
              <a:buClr>
                <a:srgbClr val="F28C11"/>
              </a:buClr>
              <a:buFont typeface=".AppleSystemUIFont" charset="-120"/>
              <a:buNone/>
              <a:tabLst/>
              <a:defRPr sz="1500" kern="1200">
                <a:solidFill>
                  <a:schemeClr val="tx1">
                    <a:tint val="75000"/>
                  </a:schemeClr>
                </a:solidFill>
                <a:latin typeface="+mn-lt"/>
                <a:ea typeface="+mn-ea"/>
                <a:cs typeface="+mn-cs"/>
              </a:defRPr>
            </a:lvl2pPr>
            <a:lvl3pPr marL="685800" indent="0" algn="l" defTabSz="685800" rtl="0" eaLnBrk="1" latinLnBrk="0" hangingPunct="1">
              <a:lnSpc>
                <a:spcPct val="90000"/>
              </a:lnSpc>
              <a:spcBef>
                <a:spcPts val="375"/>
              </a:spcBef>
              <a:buClr>
                <a:srgbClr val="F28C11"/>
              </a:buClr>
              <a:buFont typeface="Wingdings" charset="2"/>
              <a:buNone/>
              <a:tabLst/>
              <a:defRPr sz="1350" kern="1200">
                <a:solidFill>
                  <a:schemeClr val="tx1">
                    <a:tint val="75000"/>
                  </a:schemeClr>
                </a:solidFill>
                <a:latin typeface="+mn-lt"/>
                <a:ea typeface="+mn-ea"/>
                <a:cs typeface="+mn-cs"/>
              </a:defRPr>
            </a:lvl3pPr>
            <a:lvl4pPr marL="1028700" indent="0" algn="l" defTabSz="685800" rtl="0" eaLnBrk="1" latinLnBrk="0" hangingPunct="1">
              <a:lnSpc>
                <a:spcPct val="90000"/>
              </a:lnSpc>
              <a:spcBef>
                <a:spcPts val="375"/>
              </a:spcBef>
              <a:buClr>
                <a:srgbClr val="F28C11"/>
              </a:buClr>
              <a:buFont typeface="Arial" panose="020B0604020202020204" pitchFamily="34" charset="0"/>
              <a:buNone/>
              <a:tabLst/>
              <a:defRPr sz="1200" kern="1200">
                <a:solidFill>
                  <a:schemeClr val="tx1">
                    <a:tint val="75000"/>
                  </a:schemeClr>
                </a:solidFill>
                <a:latin typeface="+mn-lt"/>
                <a:ea typeface="+mn-ea"/>
                <a:cs typeface="+mn-cs"/>
              </a:defRPr>
            </a:lvl4pPr>
            <a:lvl5pPr marL="1371600" indent="0" algn="l" defTabSz="685800" rtl="0" eaLnBrk="1" latinLnBrk="0" hangingPunct="1">
              <a:lnSpc>
                <a:spcPct val="90000"/>
              </a:lnSpc>
              <a:spcBef>
                <a:spcPts val="375"/>
              </a:spcBef>
              <a:buClr>
                <a:srgbClr val="F28C11"/>
              </a:buClr>
              <a:buFont typeface="Courier New" charset="0"/>
              <a:buNone/>
              <a:tabLst/>
              <a:defRPr sz="1200" kern="1200">
                <a:solidFill>
                  <a:schemeClr val="tx1">
                    <a:tint val="75000"/>
                  </a:schemeClr>
                </a:solidFill>
                <a:latin typeface="+mn-lt"/>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4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3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2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r>
              <a:rPr lang="en-US" sz="1800" b="0">
                <a:solidFill>
                  <a:schemeClr val="accent1"/>
                </a:solidFill>
                <a:latin typeface="Arial Narrow" panose="020B0606020202030204" pitchFamily="34" charset="0"/>
                <a:cs typeface="Arial" panose="020B0604020202020204" pitchFamily="34" charset="0"/>
              </a:rPr>
              <a:t>To ask a question</a:t>
            </a:r>
            <a:r>
              <a:rPr lang="en-US" sz="1800" b="0">
                <a:latin typeface="Arial Narrow" panose="020B0606020202030204" pitchFamily="34" charset="0"/>
                <a:cs typeface="Arial" panose="020B0604020202020204" pitchFamily="34" charset="0"/>
              </a:rPr>
              <a:t>, open the Q&amp;A window, type your question into the Q&amp;A box. </a:t>
            </a:r>
            <a:r>
              <a:rPr lang="en-US" sz="1800" b="0">
                <a:solidFill>
                  <a:schemeClr val="accent1"/>
                </a:solidFill>
                <a:latin typeface="Arial Narrow" panose="020B0606020202030204" pitchFamily="34" charset="0"/>
                <a:cs typeface="Arial" panose="020B0604020202020204" pitchFamily="34" charset="0"/>
              </a:rPr>
              <a:t>Click Send</a:t>
            </a:r>
            <a:r>
              <a:rPr lang="en-US" sz="1800" b="0">
                <a:latin typeface="Arial Narrow" panose="020B0606020202030204" pitchFamily="34" charset="0"/>
                <a:cs typeface="Arial" panose="020B0604020202020204" pitchFamily="34" charset="0"/>
              </a:rPr>
              <a:t>. </a:t>
            </a:r>
            <a:endParaRPr lang="en-US" sz="1000" b="0">
              <a:latin typeface="Arial Narrow" panose="020B0606020202030204" pitchFamily="34" charset="0"/>
              <a:cs typeface="Arial" panose="020B0604020202020204" pitchFamily="34" charset="0"/>
            </a:endParaRPr>
          </a:p>
        </p:txBody>
      </p:sp>
    </p:spTree>
    <p:extLst>
      <p:ext uri="{BB962C8B-B14F-4D97-AF65-F5344CB8AC3E}">
        <p14:creationId xmlns:p14="http://schemas.microsoft.com/office/powerpoint/2010/main" val="14418634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2C93BE-CE3D-4DE4-B069-C376301A6A65}"/>
              </a:ext>
            </a:extLst>
          </p:cNvPr>
          <p:cNvSpPr>
            <a:spLocks noGrp="1"/>
          </p:cNvSpPr>
          <p:nvPr>
            <p:ph type="title"/>
          </p:nvPr>
        </p:nvSpPr>
        <p:spPr/>
        <p:txBody>
          <a:bodyPr>
            <a:normAutofit/>
          </a:bodyPr>
          <a:lstStyle/>
          <a:p>
            <a:r>
              <a:rPr lang="en-US" sz="3075"/>
              <a:t>Upcoming ISMPP U Webinars</a:t>
            </a:r>
          </a:p>
        </p:txBody>
      </p:sp>
      <p:sp>
        <p:nvSpPr>
          <p:cNvPr id="8" name="Slide Number Placeholder 3">
            <a:extLst>
              <a:ext uri="{FF2B5EF4-FFF2-40B4-BE49-F238E27FC236}">
                <a16:creationId xmlns:a16="http://schemas.microsoft.com/office/drawing/2014/main" id="{44C72608-80B2-43A3-BD8E-50C311A9E3AB}"/>
              </a:ext>
            </a:extLst>
          </p:cNvPr>
          <p:cNvSpPr>
            <a:spLocks noGrp="1"/>
          </p:cNvSpPr>
          <p:nvPr>
            <p:ph type="sldNum" sz="quarter" idx="10"/>
          </p:nvPr>
        </p:nvSpPr>
        <p:spPr>
          <a:xfrm>
            <a:off x="6985487" y="27288"/>
            <a:ext cx="2057400" cy="273844"/>
          </a:xfrm>
        </p:spPr>
        <p:txBody>
          <a:bodyPr/>
          <a:lstStyle/>
          <a:p>
            <a:pPr defTabSz="685783">
              <a:defRPr/>
            </a:pPr>
            <a:fld id="{42AD0A0E-4515-A647-B2E3-7F1B29FB990E}" type="slidenum">
              <a:rPr lang="en-US" dirty="0">
                <a:solidFill>
                  <a:prstClr val="black"/>
                </a:solidFill>
                <a:latin typeface="Franklin Gothic Book" panose="020B0503020102020204"/>
              </a:rPr>
              <a:pPr defTabSz="685783">
                <a:defRPr/>
              </a:pPr>
              <a:t>28</a:t>
            </a:fld>
            <a:endParaRPr lang="en-US">
              <a:solidFill>
                <a:prstClr val="black"/>
              </a:solidFill>
              <a:latin typeface="Franklin Gothic Book" panose="020B0503020102020204"/>
            </a:endParaRPr>
          </a:p>
        </p:txBody>
      </p:sp>
      <p:sp>
        <p:nvSpPr>
          <p:cNvPr id="4" name="Rectangle 3"/>
          <p:cNvSpPr/>
          <p:nvPr/>
        </p:nvSpPr>
        <p:spPr>
          <a:xfrm>
            <a:off x="5497116" y="4400550"/>
            <a:ext cx="464188" cy="571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66" fontAlgn="base">
              <a:spcBef>
                <a:spcPct val="0"/>
              </a:spcBef>
              <a:spcAft>
                <a:spcPct val="0"/>
              </a:spcAft>
              <a:defRPr/>
            </a:pPr>
            <a:endParaRPr lang="en-US" sz="1013">
              <a:solidFill>
                <a:prstClr val="white"/>
              </a:solidFill>
              <a:latin typeface="Calibri"/>
            </a:endParaRPr>
          </a:p>
        </p:txBody>
      </p:sp>
      <p:grpSp>
        <p:nvGrpSpPr>
          <p:cNvPr id="9" name="Group 8">
            <a:extLst>
              <a:ext uri="{FF2B5EF4-FFF2-40B4-BE49-F238E27FC236}">
                <a16:creationId xmlns:a16="http://schemas.microsoft.com/office/drawing/2014/main" id="{9BE29CBD-EA64-4311-9416-A4509447FFD4}"/>
              </a:ext>
            </a:extLst>
          </p:cNvPr>
          <p:cNvGrpSpPr>
            <a:grpSpLocks/>
          </p:cNvGrpSpPr>
          <p:nvPr/>
        </p:nvGrpSpPr>
        <p:grpSpPr>
          <a:xfrm>
            <a:off x="691192" y="1070485"/>
            <a:ext cx="7635170" cy="1880051"/>
            <a:chOff x="395288" y="6129942"/>
            <a:chExt cx="15763219" cy="2346910"/>
          </a:xfrm>
        </p:grpSpPr>
        <p:sp>
          <p:nvSpPr>
            <p:cNvPr id="10" name="Rectangle: Rounded Corners 9">
              <a:extLst>
                <a:ext uri="{FF2B5EF4-FFF2-40B4-BE49-F238E27FC236}">
                  <a16:creationId xmlns:a16="http://schemas.microsoft.com/office/drawing/2014/main" id="{7F23B056-5A55-4CBC-9853-67740DD0C535}"/>
                </a:ext>
              </a:extLst>
            </p:cNvPr>
            <p:cNvSpPr>
              <a:spLocks/>
            </p:cNvSpPr>
            <p:nvPr/>
          </p:nvSpPr>
          <p:spPr>
            <a:xfrm>
              <a:off x="395288" y="6129942"/>
              <a:ext cx="15727638" cy="2346910"/>
            </a:xfrm>
            <a:prstGeom prst="roundRect">
              <a:avLst>
                <a:gd name="adj" fmla="val 11108"/>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GB" sz="1800">
                <a:solidFill>
                  <a:prstClr val="black"/>
                </a:solidFill>
                <a:latin typeface="Franklin Gothic Book" panose="020B0503020102020204"/>
              </a:endParaRPr>
            </a:p>
          </p:txBody>
        </p:sp>
        <p:sp>
          <p:nvSpPr>
            <p:cNvPr id="11" name="Rectangle 10">
              <a:extLst>
                <a:ext uri="{FF2B5EF4-FFF2-40B4-BE49-F238E27FC236}">
                  <a16:creationId xmlns:a16="http://schemas.microsoft.com/office/drawing/2014/main" id="{95A6E253-A376-4DA0-86D7-5587325B2A7E}"/>
                </a:ext>
              </a:extLst>
            </p:cNvPr>
            <p:cNvSpPr>
              <a:spLocks/>
            </p:cNvSpPr>
            <p:nvPr/>
          </p:nvSpPr>
          <p:spPr>
            <a:xfrm>
              <a:off x="810996" y="6309089"/>
              <a:ext cx="15347511" cy="997001"/>
            </a:xfrm>
            <a:prstGeom prst="rect">
              <a:avLst/>
            </a:prstGeom>
          </p:spPr>
          <p:txBody>
            <a:bodyPr lIns="0" tIns="13500" rIns="0" bIns="13500" anchor="ctr">
              <a:noAutofit/>
            </a:bodyPr>
            <a:lstStyle/>
            <a:p>
              <a:pPr>
                <a:spcAft>
                  <a:spcPts val="1125"/>
                </a:spcAft>
                <a:tabLst>
                  <a:tab pos="2088304" algn="l"/>
                </a:tabLst>
                <a:defRPr/>
              </a:pPr>
              <a:endParaRPr lang="en-GB" sz="1800" b="1">
                <a:solidFill>
                  <a:srgbClr val="0070C0"/>
                </a:solidFill>
                <a:latin typeface="Franklin Gothic Book" panose="020B0503020102020204"/>
              </a:endParaRPr>
            </a:p>
            <a:p>
              <a:pPr>
                <a:spcAft>
                  <a:spcPts val="1125"/>
                </a:spcAft>
                <a:tabLst>
                  <a:tab pos="2088304" algn="l"/>
                </a:tabLst>
                <a:defRPr/>
              </a:pPr>
              <a:endParaRPr lang="en-GB" sz="1800" b="1">
                <a:solidFill>
                  <a:srgbClr val="0070C0"/>
                </a:solidFill>
                <a:latin typeface="Franklin Gothic Book" panose="020B0503020102020204"/>
              </a:endParaRPr>
            </a:p>
            <a:p>
              <a:pPr>
                <a:spcAft>
                  <a:spcPts val="1125"/>
                </a:spcAft>
                <a:tabLst>
                  <a:tab pos="2088304" algn="l"/>
                </a:tabLst>
                <a:defRPr/>
              </a:pPr>
              <a:r>
                <a:rPr lang="en-GB" sz="1800" b="1">
                  <a:solidFill>
                    <a:srgbClr val="0070C0"/>
                  </a:solidFill>
                  <a:latin typeface="Franklin Gothic Book" panose="020B0503020102020204"/>
                </a:rPr>
                <a:t>October 23, 2024:</a:t>
              </a:r>
            </a:p>
            <a:p>
              <a:pPr>
                <a:spcAft>
                  <a:spcPts val="1125"/>
                </a:spcAft>
                <a:tabLst>
                  <a:tab pos="2088304" algn="l"/>
                </a:tabLst>
                <a:defRPr/>
              </a:pPr>
              <a:r>
                <a:rPr lang="en-US" sz="1800" b="1">
                  <a:solidFill>
                    <a:srgbClr val="0070C0"/>
                  </a:solidFill>
                  <a:latin typeface="Franklin Gothic Book" panose="020B0503020102020204"/>
                </a:rPr>
                <a:t>Open Access in honor of International Open Access Day: Copyright Confusion: Demystifying Creative Commons </a:t>
              </a:r>
              <a:r>
                <a:rPr lang="en-US" sz="1800" b="1" err="1">
                  <a:solidFill>
                    <a:srgbClr val="0070C0"/>
                  </a:solidFill>
                  <a:latin typeface="Franklin Gothic Book" panose="020B0503020102020204"/>
                </a:rPr>
                <a:t>Licences</a:t>
              </a:r>
              <a:r>
                <a:rPr lang="en-US" sz="1800" b="1">
                  <a:solidFill>
                    <a:srgbClr val="0070C0"/>
                  </a:solidFill>
                  <a:latin typeface="Franklin Gothic Book" panose="020B0503020102020204"/>
                </a:rPr>
                <a:t> for Industry-Funded Research</a:t>
              </a:r>
              <a:endParaRPr lang="en-GB" sz="1800" b="1">
                <a:solidFill>
                  <a:srgbClr val="4472C4"/>
                </a:solidFill>
                <a:latin typeface="Franklin Gothic Book" panose="020B0503020102020204"/>
              </a:endParaRPr>
            </a:p>
          </p:txBody>
        </p:sp>
      </p:grpSp>
      <p:grpSp>
        <p:nvGrpSpPr>
          <p:cNvPr id="2" name="Group 1">
            <a:extLst>
              <a:ext uri="{FF2B5EF4-FFF2-40B4-BE49-F238E27FC236}">
                <a16:creationId xmlns:a16="http://schemas.microsoft.com/office/drawing/2014/main" id="{AD950970-5B38-BB95-C4C0-714E612E7527}"/>
              </a:ext>
            </a:extLst>
          </p:cNvPr>
          <p:cNvGrpSpPr>
            <a:grpSpLocks/>
          </p:cNvGrpSpPr>
          <p:nvPr/>
        </p:nvGrpSpPr>
        <p:grpSpPr>
          <a:xfrm>
            <a:off x="691192" y="3019535"/>
            <a:ext cx="7617936" cy="1796207"/>
            <a:chOff x="395288" y="6847224"/>
            <a:chExt cx="15727638" cy="771044"/>
          </a:xfrm>
        </p:grpSpPr>
        <p:sp>
          <p:nvSpPr>
            <p:cNvPr id="3" name="Rectangle: Rounded Corners 2">
              <a:extLst>
                <a:ext uri="{FF2B5EF4-FFF2-40B4-BE49-F238E27FC236}">
                  <a16:creationId xmlns:a16="http://schemas.microsoft.com/office/drawing/2014/main" id="{6505C580-CEFB-6D22-C083-0D4941CE95F6}"/>
                </a:ext>
              </a:extLst>
            </p:cNvPr>
            <p:cNvSpPr>
              <a:spLocks/>
            </p:cNvSpPr>
            <p:nvPr/>
          </p:nvSpPr>
          <p:spPr>
            <a:xfrm flipV="1">
              <a:off x="395288" y="6866393"/>
              <a:ext cx="15727638" cy="751875"/>
            </a:xfrm>
            <a:prstGeom prst="roundRect">
              <a:avLst>
                <a:gd name="adj" fmla="val 11108"/>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GB" sz="1800">
                <a:solidFill>
                  <a:prstClr val="black"/>
                </a:solidFill>
                <a:latin typeface="Franklin Gothic Book" panose="020B0503020102020204"/>
              </a:endParaRPr>
            </a:p>
          </p:txBody>
        </p:sp>
        <p:sp>
          <p:nvSpPr>
            <p:cNvPr id="5" name="Rectangle 4">
              <a:extLst>
                <a:ext uri="{FF2B5EF4-FFF2-40B4-BE49-F238E27FC236}">
                  <a16:creationId xmlns:a16="http://schemas.microsoft.com/office/drawing/2014/main" id="{DA3AB865-D56D-0557-13FB-37F4F9376628}"/>
                </a:ext>
              </a:extLst>
            </p:cNvPr>
            <p:cNvSpPr>
              <a:spLocks/>
            </p:cNvSpPr>
            <p:nvPr/>
          </p:nvSpPr>
          <p:spPr>
            <a:xfrm>
              <a:off x="913595" y="6847224"/>
              <a:ext cx="15060366" cy="712338"/>
            </a:xfrm>
            <a:prstGeom prst="rect">
              <a:avLst/>
            </a:prstGeom>
          </p:spPr>
          <p:txBody>
            <a:bodyPr lIns="0" tIns="13500" rIns="0" bIns="13500" anchor="ctr">
              <a:noAutofit/>
            </a:bodyPr>
            <a:lstStyle/>
            <a:p>
              <a:pPr>
                <a:spcAft>
                  <a:spcPts val="1125"/>
                </a:spcAft>
                <a:tabLst>
                  <a:tab pos="2088304" algn="l"/>
                </a:tabLst>
                <a:defRPr/>
              </a:pPr>
              <a:r>
                <a:rPr lang="en-GB" sz="1800" b="1">
                  <a:solidFill>
                    <a:srgbClr val="0070C0"/>
                  </a:solidFill>
                  <a:latin typeface="Franklin Gothic Book" panose="020B0503020102020204"/>
                </a:rPr>
                <a:t>November 13, 2024:</a:t>
              </a:r>
            </a:p>
            <a:p>
              <a:pPr>
                <a:spcAft>
                  <a:spcPts val="1125"/>
                </a:spcAft>
                <a:tabLst>
                  <a:tab pos="2088304" algn="l"/>
                </a:tabLst>
                <a:defRPr/>
              </a:pPr>
              <a:r>
                <a:rPr lang="en-US" sz="1800" b="1">
                  <a:solidFill>
                    <a:srgbClr val="0070C0"/>
                  </a:solidFill>
                  <a:latin typeface="Franklin Gothic Book" panose="020B0503020102020204"/>
                </a:rPr>
                <a:t>Can health literacy best practices in publications fuel innovation in patient-friendly electronic package information (</a:t>
              </a:r>
              <a:r>
                <a:rPr lang="en-US" sz="1800" b="1" err="1">
                  <a:solidFill>
                    <a:srgbClr val="0070C0"/>
                  </a:solidFill>
                  <a:latin typeface="Franklin Gothic Book" panose="020B0503020102020204"/>
                </a:rPr>
                <a:t>ePI</a:t>
              </a:r>
              <a:r>
                <a:rPr lang="en-US" sz="1800" b="1">
                  <a:solidFill>
                    <a:srgbClr val="0070C0"/>
                  </a:solidFill>
                  <a:latin typeface="Franklin Gothic Book" panose="020B0503020102020204"/>
                </a:rPr>
                <a:t>)?</a:t>
              </a:r>
              <a:endParaRPr lang="en-GB" sz="1800" b="1">
                <a:solidFill>
                  <a:srgbClr val="4472C4"/>
                </a:solidFill>
                <a:latin typeface="Franklin Gothic Book" panose="020B0503020102020204"/>
              </a:endParaRPr>
            </a:p>
          </p:txBody>
        </p:sp>
      </p:grpSp>
    </p:spTree>
    <p:extLst>
      <p:ext uri="{BB962C8B-B14F-4D97-AF65-F5344CB8AC3E}">
        <p14:creationId xmlns:p14="http://schemas.microsoft.com/office/powerpoint/2010/main" val="59301131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3" name="Content Placeholder 2">
            <a:extLst>
              <a:ext uri="{FF2B5EF4-FFF2-40B4-BE49-F238E27FC236}">
                <a16:creationId xmlns:a16="http://schemas.microsoft.com/office/drawing/2014/main" id="{FD0FE247-FC3A-41CD-A62B-1C1848015115}"/>
              </a:ext>
            </a:extLst>
          </p:cNvPr>
          <p:cNvSpPr>
            <a:spLocks noGrp="1"/>
          </p:cNvSpPr>
          <p:nvPr>
            <p:ph idx="11"/>
          </p:nvPr>
        </p:nvSpPr>
        <p:spPr/>
        <p:txBody>
          <a:bodyPr>
            <a:normAutofit/>
          </a:bodyPr>
          <a:lstStyle/>
          <a:p>
            <a:pPr marL="0" indent="0">
              <a:spcAft>
                <a:spcPts val="1200"/>
              </a:spcAft>
              <a:buNone/>
            </a:pPr>
            <a:r>
              <a:rPr lang="en-GB" altLang="en-US"/>
              <a:t>We hope you enjoyed today'</a:t>
            </a:r>
            <a:r>
              <a:rPr lang="en-GB" altLang="ja-JP"/>
              <a:t>s presentation. </a:t>
            </a:r>
          </a:p>
          <a:p>
            <a:pPr marL="0" indent="0">
              <a:spcAft>
                <a:spcPts val="1200"/>
              </a:spcAft>
              <a:buNone/>
            </a:pPr>
            <a:r>
              <a:rPr lang="en-GB" altLang="ja-JP" b="1">
                <a:solidFill>
                  <a:schemeClr val="accent2"/>
                </a:solidFill>
              </a:rPr>
              <a:t>After closing out of Zoom, please click the CONTINUE button </a:t>
            </a:r>
            <a:br>
              <a:rPr lang="en-GB" altLang="ja-JP" b="1">
                <a:solidFill>
                  <a:schemeClr val="accent2"/>
                </a:solidFill>
              </a:rPr>
            </a:br>
            <a:r>
              <a:rPr lang="en-GB" altLang="ja-JP" b="1">
                <a:solidFill>
                  <a:schemeClr val="accent2"/>
                </a:solidFill>
              </a:rPr>
              <a:t>on your screen to take our short survey. Thank you!</a:t>
            </a:r>
            <a:endParaRPr lang="en-GB" altLang="en-US" b="1">
              <a:solidFill>
                <a:schemeClr val="accent2"/>
              </a:solidFill>
            </a:endParaRPr>
          </a:p>
        </p:txBody>
      </p:sp>
      <p:sp>
        <p:nvSpPr>
          <p:cNvPr id="3" name="Title 2">
            <a:extLst>
              <a:ext uri="{FF2B5EF4-FFF2-40B4-BE49-F238E27FC236}">
                <a16:creationId xmlns:a16="http://schemas.microsoft.com/office/drawing/2014/main" id="{4F114EF1-A5FF-4254-A531-1B2C555157F1}"/>
              </a:ext>
            </a:extLst>
          </p:cNvPr>
          <p:cNvSpPr>
            <a:spLocks noGrp="1"/>
          </p:cNvSpPr>
          <p:nvPr>
            <p:ph type="title"/>
          </p:nvPr>
        </p:nvSpPr>
        <p:spPr/>
        <p:txBody>
          <a:bodyPr/>
          <a:lstStyle/>
          <a:p>
            <a:r>
              <a:rPr lang="en-US" sz="3075"/>
              <a:t>Thank you for attending!</a:t>
            </a:r>
          </a:p>
        </p:txBody>
      </p:sp>
      <p:pic>
        <p:nvPicPr>
          <p:cNvPr id="9" name="Picture 8" descr="Graphical user interface, text, application, chat or text message&#10;&#10;Description automatically generated">
            <a:extLst>
              <a:ext uri="{FF2B5EF4-FFF2-40B4-BE49-F238E27FC236}">
                <a16:creationId xmlns:a16="http://schemas.microsoft.com/office/drawing/2014/main" id="{D33EB056-BE07-4485-81AD-724D6E777C6A}"/>
              </a:ext>
            </a:extLst>
          </p:cNvPr>
          <p:cNvPicPr>
            <a:picLocks noChangeAspect="1"/>
          </p:cNvPicPr>
          <p:nvPr/>
        </p:nvPicPr>
        <p:blipFill>
          <a:blip r:embed="rId3"/>
          <a:stretch>
            <a:fillRect/>
          </a:stretch>
        </p:blipFill>
        <p:spPr>
          <a:xfrm>
            <a:off x="2068986" y="2397419"/>
            <a:ext cx="5326380" cy="2407920"/>
          </a:xfrm>
          <a:prstGeom prst="rect">
            <a:avLst/>
          </a:prstGeom>
        </p:spPr>
      </p:pic>
      <p:sp>
        <p:nvSpPr>
          <p:cNvPr id="14" name="Rectangle: Rounded Corners 13">
            <a:extLst>
              <a:ext uri="{FF2B5EF4-FFF2-40B4-BE49-F238E27FC236}">
                <a16:creationId xmlns:a16="http://schemas.microsoft.com/office/drawing/2014/main" id="{FB41DBDD-7315-4825-BA74-4932B3FADCAC}"/>
              </a:ext>
            </a:extLst>
          </p:cNvPr>
          <p:cNvSpPr/>
          <p:nvPr/>
        </p:nvSpPr>
        <p:spPr>
          <a:xfrm>
            <a:off x="3548991" y="4337184"/>
            <a:ext cx="1047754" cy="400903"/>
          </a:xfrm>
          <a:prstGeom prst="roundRect">
            <a:avLst>
              <a:gd name="adj" fmla="val 16667"/>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GB" sz="1013">
              <a:solidFill>
                <a:prstClr val="white"/>
              </a:solidFill>
              <a:latin typeface="Franklin Gothic Book" panose="020B0503020102020204"/>
            </a:endParaRPr>
          </a:p>
        </p:txBody>
      </p:sp>
      <p:sp>
        <p:nvSpPr>
          <p:cNvPr id="6" name="Slide Number Placeholder 2">
            <a:extLst>
              <a:ext uri="{FF2B5EF4-FFF2-40B4-BE49-F238E27FC236}">
                <a16:creationId xmlns:a16="http://schemas.microsoft.com/office/drawing/2014/main" id="{F1BF8C6C-81B4-41D4-B2DF-45EA49D3F5E0}"/>
              </a:ext>
            </a:extLst>
          </p:cNvPr>
          <p:cNvSpPr>
            <a:spLocks noGrp="1"/>
          </p:cNvSpPr>
          <p:nvPr>
            <p:ph type="sldNum" sz="quarter" idx="10"/>
          </p:nvPr>
        </p:nvSpPr>
        <p:spPr>
          <a:xfrm>
            <a:off x="6985487" y="59946"/>
            <a:ext cx="2057400" cy="273844"/>
          </a:xfrm>
        </p:spPr>
        <p:txBody>
          <a:bodyPr/>
          <a:lstStyle/>
          <a:p>
            <a:pPr defTabSz="685783">
              <a:defRPr/>
            </a:pPr>
            <a:fld id="{42AD0A0E-4515-A647-B2E3-7F1B29FB990E}" type="slidenum">
              <a:rPr lang="en-US" dirty="0">
                <a:solidFill>
                  <a:prstClr val="black"/>
                </a:solidFill>
                <a:latin typeface="Franklin Gothic Book" panose="020B0503020102020204"/>
              </a:rPr>
              <a:pPr defTabSz="685783">
                <a:defRPr/>
              </a:pPr>
              <a:t>29</a:t>
            </a:fld>
            <a:endParaRPr lang="en-US">
              <a:solidFill>
                <a:prstClr val="black"/>
              </a:solidFill>
              <a:latin typeface="Franklin Gothic Book" panose="020B0503020102020204"/>
            </a:endParaRPr>
          </a:p>
        </p:txBody>
      </p:sp>
    </p:spTree>
    <p:extLst>
      <p:ext uri="{BB962C8B-B14F-4D97-AF65-F5344CB8AC3E}">
        <p14:creationId xmlns:p14="http://schemas.microsoft.com/office/powerpoint/2010/main" val="41223349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364296-4F47-4B80-BE8E-709BBE7771E2}"/>
              </a:ext>
            </a:extLst>
          </p:cNvPr>
          <p:cNvSpPr>
            <a:spLocks noGrp="1"/>
          </p:cNvSpPr>
          <p:nvPr>
            <p:ph type="title"/>
          </p:nvPr>
        </p:nvSpPr>
        <p:spPr/>
        <p:txBody>
          <a:bodyPr>
            <a:normAutofit/>
          </a:bodyPr>
          <a:lstStyle/>
          <a:p>
            <a:r>
              <a:rPr lang="en-US"/>
              <a:t>ISMPP Announcements</a:t>
            </a:r>
          </a:p>
        </p:txBody>
      </p:sp>
      <p:sp>
        <p:nvSpPr>
          <p:cNvPr id="8" name="Rectangle 7">
            <a:extLst>
              <a:ext uri="{FF2B5EF4-FFF2-40B4-BE49-F238E27FC236}">
                <a16:creationId xmlns:a16="http://schemas.microsoft.com/office/drawing/2014/main" id="{554B3AC2-C027-437C-9915-938F4F4B87B9}"/>
              </a:ext>
            </a:extLst>
          </p:cNvPr>
          <p:cNvSpPr/>
          <p:nvPr/>
        </p:nvSpPr>
        <p:spPr>
          <a:xfrm>
            <a:off x="428333" y="1071145"/>
            <a:ext cx="7594439" cy="1550553"/>
          </a:xfrm>
          <a:prstGeom prst="rect">
            <a:avLst/>
          </a:prstGeom>
        </p:spPr>
        <p:txBody>
          <a:bodyPr wrap="square" lIns="91440" tIns="45720" rIns="91440" bIns="45720" anchor="t">
            <a:spAutoFit/>
          </a:bodyPr>
          <a:lstStyle/>
          <a:p>
            <a:pPr algn="ctr">
              <a:spcBef>
                <a:spcPts val="600"/>
              </a:spcBef>
              <a:defRPr/>
            </a:pPr>
            <a:r>
              <a:rPr lang="en-US" sz="1988" b="1" spc="-23">
                <a:solidFill>
                  <a:srgbClr val="0070C0"/>
                </a:solidFill>
                <a:ea typeface="ＭＳ Ｐゴシック"/>
                <a:cs typeface="Calibri"/>
              </a:rPr>
              <a:t>Application deadline for the March CMPP </a:t>
            </a:r>
          </a:p>
          <a:p>
            <a:pPr algn="ctr">
              <a:spcBef>
                <a:spcPts val="600"/>
              </a:spcBef>
              <a:defRPr/>
            </a:pPr>
            <a:r>
              <a:rPr lang="en-US" sz="1988" b="1" spc="-23">
                <a:solidFill>
                  <a:srgbClr val="0070C0"/>
                </a:solidFill>
                <a:ea typeface="ＭＳ Ｐゴシック"/>
                <a:cs typeface="Calibri"/>
              </a:rPr>
              <a:t>exam is February 1</a:t>
            </a:r>
            <a:endParaRPr lang="en-US" sz="1988" b="1" spc="-23">
              <a:solidFill>
                <a:srgbClr val="0070C0"/>
              </a:solidFill>
            </a:endParaRPr>
          </a:p>
          <a:p>
            <a:pPr marL="285274" indent="-285274">
              <a:spcBef>
                <a:spcPts val="600"/>
              </a:spcBef>
              <a:buFont typeface="Arial" panose="020B0604020202020204" pitchFamily="34" charset="0"/>
              <a:buChar char="•"/>
              <a:defRPr/>
            </a:pPr>
            <a:endParaRPr lang="en-US" sz="2000" spc="-23">
              <a:latin typeface="Franklin Gothic Book"/>
              <a:ea typeface="ＭＳ Ｐゴシック" pitchFamily="34" charset="-128"/>
              <a:cs typeface="Calibri" pitchFamily="34" charset="0"/>
            </a:endParaRPr>
          </a:p>
          <a:p>
            <a:pPr>
              <a:spcBef>
                <a:spcPts val="600"/>
              </a:spcBef>
              <a:defRPr/>
            </a:pPr>
            <a:endParaRPr lang="en-US" sz="2000" spc="-23">
              <a:latin typeface="Franklin Gothic Book"/>
              <a:ea typeface="ＭＳ Ｐゴシック" pitchFamily="34" charset="-128"/>
              <a:cs typeface="Calibri" pitchFamily="34" charset="0"/>
            </a:endParaRPr>
          </a:p>
        </p:txBody>
      </p:sp>
      <p:sp>
        <p:nvSpPr>
          <p:cNvPr id="2" name="Slide Number Placeholder 1">
            <a:extLst>
              <a:ext uri="{FF2B5EF4-FFF2-40B4-BE49-F238E27FC236}">
                <a16:creationId xmlns:a16="http://schemas.microsoft.com/office/drawing/2014/main" id="{53AFCC83-E0F3-1F6F-F07C-2E602DD33DC5}"/>
              </a:ext>
            </a:extLst>
          </p:cNvPr>
          <p:cNvSpPr>
            <a:spLocks noGrp="1"/>
          </p:cNvSpPr>
          <p:nvPr>
            <p:ph type="sldNum" sz="quarter" idx="10"/>
          </p:nvPr>
        </p:nvSpPr>
        <p:spPr/>
        <p:txBody>
          <a:bodyPr/>
          <a:lstStyle/>
          <a:p>
            <a:fld id="{42AD0A0E-4515-A647-B2E3-7F1B29FB990E}" type="slidenum">
              <a:rPr lang="en-US" smtClean="0"/>
              <a:pPr/>
              <a:t>3</a:t>
            </a:fld>
            <a:endParaRPr lang="en-US"/>
          </a:p>
        </p:txBody>
      </p:sp>
      <p:pic>
        <p:nvPicPr>
          <p:cNvPr id="5" name="Picture 4" descr="A picture containing text, font, logo, graphics&#10;&#10;Description automatically generated">
            <a:extLst>
              <a:ext uri="{FF2B5EF4-FFF2-40B4-BE49-F238E27FC236}">
                <a16:creationId xmlns:a16="http://schemas.microsoft.com/office/drawing/2014/main" id="{2786F9BF-E262-ED15-A75D-9CC8A9FF4C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36460" y="2184401"/>
            <a:ext cx="2097583" cy="2108200"/>
          </a:xfrm>
          <a:prstGeom prst="rect">
            <a:avLst/>
          </a:prstGeom>
        </p:spPr>
      </p:pic>
    </p:spTree>
    <p:extLst>
      <p:ext uri="{BB962C8B-B14F-4D97-AF65-F5344CB8AC3E}">
        <p14:creationId xmlns:p14="http://schemas.microsoft.com/office/powerpoint/2010/main" val="28932054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9F9B3556-4CA0-41F1-8192-D09E711E3C51}"/>
              </a:ext>
            </a:extLst>
          </p:cNvPr>
          <p:cNvSpPr txBox="1"/>
          <p:nvPr/>
        </p:nvSpPr>
        <p:spPr>
          <a:xfrm>
            <a:off x="624131" y="488975"/>
            <a:ext cx="7895740" cy="593881"/>
          </a:xfrm>
          <a:prstGeom prst="rect">
            <a:avLst/>
          </a:prstGeom>
          <a:noFill/>
        </p:spPr>
        <p:txBody>
          <a:bodyPr wrap="square" lIns="68580" tIns="34290" rIns="68580" bIns="34290" rtlCol="0" anchor="t">
            <a:spAutoFit/>
          </a:bodyPr>
          <a:lstStyle/>
          <a:p>
            <a:pPr defTabSz="685783">
              <a:lnSpc>
                <a:spcPct val="90000"/>
              </a:lnSpc>
              <a:defRPr/>
            </a:pPr>
            <a:r>
              <a:rPr lang="en-US" sz="2775" b="1">
                <a:solidFill>
                  <a:srgbClr val="F28C11"/>
                </a:solidFill>
                <a:latin typeface="Franklin Gothic Medium" panose="020B0603020102020204"/>
              </a:rPr>
              <a:t>Whitney Morris</a:t>
            </a:r>
          </a:p>
          <a:p>
            <a:pPr defTabSz="685783">
              <a:lnSpc>
                <a:spcPct val="90000"/>
              </a:lnSpc>
              <a:spcBef>
                <a:spcPct val="0"/>
              </a:spcBef>
              <a:defRPr/>
            </a:pPr>
            <a:endParaRPr lang="en-US" sz="1013"/>
          </a:p>
        </p:txBody>
      </p:sp>
      <p:sp>
        <p:nvSpPr>
          <p:cNvPr id="27" name="Rectangle 26">
            <a:extLst>
              <a:ext uri="{FF2B5EF4-FFF2-40B4-BE49-F238E27FC236}">
                <a16:creationId xmlns:a16="http://schemas.microsoft.com/office/drawing/2014/main" id="{30B86684-560B-4625-9126-37384A52BFC5}"/>
              </a:ext>
            </a:extLst>
          </p:cNvPr>
          <p:cNvSpPr/>
          <p:nvPr/>
        </p:nvSpPr>
        <p:spPr>
          <a:xfrm>
            <a:off x="216198" y="4852293"/>
            <a:ext cx="4389343" cy="196208"/>
          </a:xfrm>
          <a:prstGeom prst="rect">
            <a:avLst/>
          </a:prstGeom>
        </p:spPr>
        <p:txBody>
          <a:bodyPr wrap="none">
            <a:spAutoFit/>
          </a:bodyPr>
          <a:lstStyle/>
          <a:p>
            <a:pPr defTabSz="685783">
              <a:defRPr/>
            </a:pPr>
            <a:r>
              <a:rPr lang="en-US" sz="675">
                <a:solidFill>
                  <a:prstClr val="white"/>
                </a:solidFill>
                <a:latin typeface="Franklin Gothic Book" panose="020B0503020102020204"/>
              </a:rPr>
              <a:t>CMPP, certified medical publications professional; ISMPP, international society of medical publications professional</a:t>
            </a:r>
            <a:endParaRPr lang="en-IN" sz="675">
              <a:solidFill>
                <a:prstClr val="white"/>
              </a:solidFill>
              <a:latin typeface="Franklin Gothic Book" panose="020B0503020102020204"/>
            </a:endParaRPr>
          </a:p>
        </p:txBody>
      </p:sp>
      <p:sp>
        <p:nvSpPr>
          <p:cNvPr id="9" name="TextBox 8">
            <a:extLst>
              <a:ext uri="{FF2B5EF4-FFF2-40B4-BE49-F238E27FC236}">
                <a16:creationId xmlns:a16="http://schemas.microsoft.com/office/drawing/2014/main" id="{37AB2428-127A-4A02-B0AC-8037CBB5D7D8}"/>
              </a:ext>
            </a:extLst>
          </p:cNvPr>
          <p:cNvSpPr txBox="1"/>
          <p:nvPr/>
        </p:nvSpPr>
        <p:spPr>
          <a:xfrm>
            <a:off x="3041103" y="1399411"/>
            <a:ext cx="4876939" cy="3046988"/>
          </a:xfrm>
          <a:prstGeom prst="rect">
            <a:avLst/>
          </a:prstGeom>
          <a:noFill/>
        </p:spPr>
        <p:txBody>
          <a:bodyPr wrap="square" lIns="91440" tIns="45720" rIns="91440" bIns="45720" anchor="t">
            <a:spAutoFit/>
          </a:bodyPr>
          <a:lstStyle/>
          <a:p>
            <a:pPr marL="342424" indent="-342424">
              <a:buFont typeface="Symbol" panose="05050102010706020507" pitchFamily="18" charset="2"/>
              <a:buChar char=""/>
            </a:pPr>
            <a:r>
              <a:rPr lang="en-US" sz="1600"/>
              <a:t>Over the past two years Whitney’s focus has organically entrenched into the Medical and Scientific Communications space working on a number of roles ranging from Director to VP.</a:t>
            </a:r>
          </a:p>
          <a:p>
            <a:pPr marL="342424" indent="-342424">
              <a:buFont typeface="Symbol" panose="05050102010706020507" pitchFamily="18" charset="2"/>
              <a:buChar char=""/>
            </a:pPr>
            <a:r>
              <a:rPr lang="en-US" sz="1600"/>
              <a:t>Prior to her role at Medical Affairs Recruiting, Whitney worked as a full desk executive recruiter, starting the Medical Affairs team for another firm. Desiring to join a smaller, more boutique firm, she made her way into Medical Affairs Recruiting, LLC.</a:t>
            </a:r>
          </a:p>
          <a:p>
            <a:pPr marL="342424" indent="-342424">
              <a:buFont typeface="Symbol" panose="05050102010706020507" pitchFamily="18" charset="2"/>
              <a:buChar char=""/>
            </a:pPr>
            <a:r>
              <a:rPr lang="en-US" sz="1600"/>
              <a:t>Whitney is and has been involved with ISMPP since its inception and has had the pleasure of speaking and leading workshops for both.</a:t>
            </a:r>
            <a:endParaRPr lang="en-US" sz="1600">
              <a:solidFill>
                <a:prstClr val="black"/>
              </a:solidFill>
            </a:endParaRPr>
          </a:p>
        </p:txBody>
      </p:sp>
      <p:pic>
        <p:nvPicPr>
          <p:cNvPr id="8" name="Picture 7">
            <a:extLst>
              <a:ext uri="{FF2B5EF4-FFF2-40B4-BE49-F238E27FC236}">
                <a16:creationId xmlns:a16="http://schemas.microsoft.com/office/drawing/2014/main" id="{65AEAB05-6AB2-B0B8-2264-88E78BAFC813}"/>
              </a:ext>
            </a:extLst>
          </p:cNvPr>
          <p:cNvPicPr>
            <a:picLocks noChangeAspect="1"/>
          </p:cNvPicPr>
          <p:nvPr/>
        </p:nvPicPr>
        <p:blipFill>
          <a:blip r:embed="rId2"/>
          <a:srcRect l="14298" r="14298"/>
          <a:stretch/>
        </p:blipFill>
        <p:spPr>
          <a:xfrm>
            <a:off x="991554" y="1226344"/>
            <a:ext cx="1863563" cy="2609851"/>
          </a:xfrm>
          <a:prstGeom prst="ellipse">
            <a:avLst/>
          </a:prstGeom>
          <a:ln w="57150">
            <a:solidFill>
              <a:schemeClr val="bg2">
                <a:lumMod val="25000"/>
              </a:schemeClr>
            </a:solidFill>
          </a:ln>
        </p:spPr>
      </p:pic>
    </p:spTree>
    <p:extLst>
      <p:ext uri="{BB962C8B-B14F-4D97-AF65-F5344CB8AC3E}">
        <p14:creationId xmlns:p14="http://schemas.microsoft.com/office/powerpoint/2010/main" val="91420753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9F9B3556-4CA0-41F1-8192-D09E711E3C51}"/>
              </a:ext>
            </a:extLst>
          </p:cNvPr>
          <p:cNvSpPr txBox="1"/>
          <p:nvPr/>
        </p:nvSpPr>
        <p:spPr>
          <a:xfrm>
            <a:off x="624131" y="488975"/>
            <a:ext cx="7895740" cy="593881"/>
          </a:xfrm>
          <a:prstGeom prst="rect">
            <a:avLst/>
          </a:prstGeom>
          <a:noFill/>
        </p:spPr>
        <p:txBody>
          <a:bodyPr wrap="square" lIns="68580" tIns="34290" rIns="68580" bIns="34290" rtlCol="0" anchor="t">
            <a:spAutoFit/>
          </a:bodyPr>
          <a:lstStyle/>
          <a:p>
            <a:pPr defTabSz="685783">
              <a:lnSpc>
                <a:spcPct val="90000"/>
              </a:lnSpc>
              <a:defRPr/>
            </a:pPr>
            <a:r>
              <a:rPr lang="en-US" sz="2775" b="1">
                <a:solidFill>
                  <a:srgbClr val="F28C11"/>
                </a:solidFill>
                <a:latin typeface="Franklin Gothic Medium" panose="020B0603020102020204"/>
              </a:rPr>
              <a:t>Rachel Kennedy, PhD</a:t>
            </a:r>
          </a:p>
          <a:p>
            <a:pPr defTabSz="685783">
              <a:lnSpc>
                <a:spcPct val="90000"/>
              </a:lnSpc>
              <a:spcBef>
                <a:spcPct val="0"/>
              </a:spcBef>
              <a:defRPr/>
            </a:pPr>
            <a:endParaRPr lang="en-US" sz="1013"/>
          </a:p>
        </p:txBody>
      </p:sp>
      <p:sp>
        <p:nvSpPr>
          <p:cNvPr id="27" name="Rectangle 26">
            <a:extLst>
              <a:ext uri="{FF2B5EF4-FFF2-40B4-BE49-F238E27FC236}">
                <a16:creationId xmlns:a16="http://schemas.microsoft.com/office/drawing/2014/main" id="{30B86684-560B-4625-9126-37384A52BFC5}"/>
              </a:ext>
            </a:extLst>
          </p:cNvPr>
          <p:cNvSpPr/>
          <p:nvPr/>
        </p:nvSpPr>
        <p:spPr>
          <a:xfrm>
            <a:off x="216198" y="4852293"/>
            <a:ext cx="4389343" cy="196208"/>
          </a:xfrm>
          <a:prstGeom prst="rect">
            <a:avLst/>
          </a:prstGeom>
        </p:spPr>
        <p:txBody>
          <a:bodyPr wrap="none">
            <a:spAutoFit/>
          </a:bodyPr>
          <a:lstStyle/>
          <a:p>
            <a:pPr defTabSz="685783">
              <a:defRPr/>
            </a:pPr>
            <a:r>
              <a:rPr lang="en-US" sz="675">
                <a:solidFill>
                  <a:prstClr val="white"/>
                </a:solidFill>
                <a:latin typeface="Franklin Gothic Book" panose="020B0503020102020204"/>
              </a:rPr>
              <a:t>CMPP, certified medical publications professional; ISMPP, international society of medical publications professional</a:t>
            </a:r>
            <a:endParaRPr lang="en-IN" sz="675">
              <a:solidFill>
                <a:prstClr val="white"/>
              </a:solidFill>
              <a:latin typeface="Franklin Gothic Book" panose="020B0503020102020204"/>
            </a:endParaRPr>
          </a:p>
        </p:txBody>
      </p:sp>
      <p:sp>
        <p:nvSpPr>
          <p:cNvPr id="9" name="TextBox 8">
            <a:extLst>
              <a:ext uri="{FF2B5EF4-FFF2-40B4-BE49-F238E27FC236}">
                <a16:creationId xmlns:a16="http://schemas.microsoft.com/office/drawing/2014/main" id="{37AB2428-127A-4A02-B0AC-8037CBB5D7D8}"/>
              </a:ext>
            </a:extLst>
          </p:cNvPr>
          <p:cNvSpPr txBox="1"/>
          <p:nvPr/>
        </p:nvSpPr>
        <p:spPr>
          <a:xfrm>
            <a:off x="3041103" y="1399411"/>
            <a:ext cx="4876939" cy="3046988"/>
          </a:xfrm>
          <a:prstGeom prst="rect">
            <a:avLst/>
          </a:prstGeom>
          <a:noFill/>
        </p:spPr>
        <p:txBody>
          <a:bodyPr wrap="square" lIns="91440" tIns="45720" rIns="91440" bIns="45720" anchor="t">
            <a:spAutoFit/>
          </a:bodyPr>
          <a:lstStyle/>
          <a:p>
            <a:pPr marL="342424" indent="-342424">
              <a:buFont typeface="Symbol" panose="05050102010706020507" pitchFamily="18" charset="2"/>
              <a:buChar char=""/>
            </a:pPr>
            <a:r>
              <a:rPr lang="en-US" sz="1600"/>
              <a:t>Trained Neuroimmunologist (Post-Doc, Columbia University; PhD, GSBSE Maine) who began her industry career as a Medical Science Liaison (MSL) supporting Multiple Sclerosis in NYC and Boston</a:t>
            </a:r>
          </a:p>
          <a:p>
            <a:pPr marL="342424" indent="-342424">
              <a:buFont typeface="Symbol" panose="05050102010706020507" pitchFamily="18" charset="2"/>
              <a:buChar char=""/>
            </a:pPr>
            <a:r>
              <a:rPr lang="en-US" sz="1600"/>
              <a:t>Over the past five years, she has held various global medical roles, including Chief of Staff to the CMO, Strategy &amp; Business Planning Lead</a:t>
            </a:r>
          </a:p>
          <a:p>
            <a:pPr marL="342424" indent="-342424">
              <a:buFont typeface="Symbol" panose="05050102010706020507" pitchFamily="18" charset="2"/>
              <a:buChar char=""/>
            </a:pPr>
            <a:r>
              <a:rPr lang="en-US" sz="1600"/>
              <a:t>Head of Scientific Communications at Moderna, overseeing communications for the entire portfolio</a:t>
            </a:r>
          </a:p>
          <a:p>
            <a:pPr marL="342424" indent="-342424">
              <a:buFont typeface="Symbol" panose="05050102010706020507" pitchFamily="18" charset="2"/>
              <a:buChar char=""/>
            </a:pPr>
            <a:r>
              <a:rPr lang="en-US" sz="1600"/>
              <a:t>Passionate about generative AI and empowering people through collaboration</a:t>
            </a:r>
            <a:endParaRPr lang="en-US" sz="1600">
              <a:solidFill>
                <a:prstClr val="black"/>
              </a:solidFill>
            </a:endParaRPr>
          </a:p>
        </p:txBody>
      </p:sp>
      <p:pic>
        <p:nvPicPr>
          <p:cNvPr id="8" name="Picture 7">
            <a:extLst>
              <a:ext uri="{FF2B5EF4-FFF2-40B4-BE49-F238E27FC236}">
                <a16:creationId xmlns:a16="http://schemas.microsoft.com/office/drawing/2014/main" id="{65AEAB05-6AB2-B0B8-2264-88E78BAFC813}"/>
              </a:ext>
            </a:extLst>
          </p:cNvPr>
          <p:cNvPicPr>
            <a:picLocks noChangeAspect="1"/>
          </p:cNvPicPr>
          <p:nvPr/>
        </p:nvPicPr>
        <p:blipFill>
          <a:blip r:embed="rId2"/>
          <a:srcRect l="14298" r="14298"/>
          <a:stretch/>
        </p:blipFill>
        <p:spPr>
          <a:xfrm>
            <a:off x="991554" y="1226344"/>
            <a:ext cx="1863563" cy="2609851"/>
          </a:xfrm>
          <a:prstGeom prst="ellipse">
            <a:avLst/>
          </a:prstGeom>
          <a:ln w="57150">
            <a:solidFill>
              <a:schemeClr val="bg2">
                <a:lumMod val="25000"/>
              </a:schemeClr>
            </a:solidFill>
          </a:ln>
        </p:spPr>
      </p:pic>
    </p:spTree>
    <p:extLst>
      <p:ext uri="{BB962C8B-B14F-4D97-AF65-F5344CB8AC3E}">
        <p14:creationId xmlns:p14="http://schemas.microsoft.com/office/powerpoint/2010/main" val="14741321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9F9B3556-4CA0-41F1-8192-D09E711E3C51}"/>
              </a:ext>
            </a:extLst>
          </p:cNvPr>
          <p:cNvSpPr txBox="1"/>
          <p:nvPr/>
        </p:nvSpPr>
        <p:spPr>
          <a:xfrm>
            <a:off x="624131" y="488975"/>
            <a:ext cx="7895740" cy="593881"/>
          </a:xfrm>
          <a:prstGeom prst="rect">
            <a:avLst/>
          </a:prstGeom>
          <a:noFill/>
        </p:spPr>
        <p:txBody>
          <a:bodyPr wrap="square" lIns="68580" tIns="34290" rIns="68580" bIns="34290" rtlCol="0" anchor="t">
            <a:spAutoFit/>
          </a:bodyPr>
          <a:lstStyle/>
          <a:p>
            <a:pPr defTabSz="685783">
              <a:lnSpc>
                <a:spcPct val="90000"/>
              </a:lnSpc>
              <a:defRPr/>
            </a:pPr>
            <a:r>
              <a:rPr lang="en-US" sz="2775" b="1">
                <a:solidFill>
                  <a:srgbClr val="F28C11"/>
                </a:solidFill>
                <a:latin typeface="Franklin Gothic Medium" panose="020B0603020102020204"/>
              </a:rPr>
              <a:t>Rachel Sopko Bibb, MBA, ISMPP CMPP™,</a:t>
            </a:r>
          </a:p>
          <a:p>
            <a:pPr defTabSz="685783">
              <a:lnSpc>
                <a:spcPct val="90000"/>
              </a:lnSpc>
              <a:spcBef>
                <a:spcPct val="0"/>
              </a:spcBef>
              <a:defRPr/>
            </a:pPr>
            <a:endParaRPr lang="en-US" sz="1013"/>
          </a:p>
        </p:txBody>
      </p:sp>
      <p:sp>
        <p:nvSpPr>
          <p:cNvPr id="27" name="Rectangle 26">
            <a:extLst>
              <a:ext uri="{FF2B5EF4-FFF2-40B4-BE49-F238E27FC236}">
                <a16:creationId xmlns:a16="http://schemas.microsoft.com/office/drawing/2014/main" id="{30B86684-560B-4625-9126-37384A52BFC5}"/>
              </a:ext>
            </a:extLst>
          </p:cNvPr>
          <p:cNvSpPr/>
          <p:nvPr/>
        </p:nvSpPr>
        <p:spPr>
          <a:xfrm>
            <a:off x="216198" y="4852293"/>
            <a:ext cx="4389343" cy="196208"/>
          </a:xfrm>
          <a:prstGeom prst="rect">
            <a:avLst/>
          </a:prstGeom>
        </p:spPr>
        <p:txBody>
          <a:bodyPr wrap="none">
            <a:spAutoFit/>
          </a:bodyPr>
          <a:lstStyle/>
          <a:p>
            <a:pPr defTabSz="685783">
              <a:defRPr/>
            </a:pPr>
            <a:r>
              <a:rPr lang="en-US" sz="675">
                <a:solidFill>
                  <a:prstClr val="white"/>
                </a:solidFill>
                <a:latin typeface="Franklin Gothic Book" panose="020B0503020102020204"/>
              </a:rPr>
              <a:t>CMPP, certified medical publications professional; ISMPP, international society of medical publications professional</a:t>
            </a:r>
            <a:endParaRPr lang="en-IN" sz="675">
              <a:solidFill>
                <a:prstClr val="white"/>
              </a:solidFill>
              <a:latin typeface="Franklin Gothic Book" panose="020B0503020102020204"/>
            </a:endParaRPr>
          </a:p>
        </p:txBody>
      </p:sp>
      <p:sp>
        <p:nvSpPr>
          <p:cNvPr id="9" name="TextBox 8">
            <a:extLst>
              <a:ext uri="{FF2B5EF4-FFF2-40B4-BE49-F238E27FC236}">
                <a16:creationId xmlns:a16="http://schemas.microsoft.com/office/drawing/2014/main" id="{37AB2428-127A-4A02-B0AC-8037CBB5D7D8}"/>
              </a:ext>
            </a:extLst>
          </p:cNvPr>
          <p:cNvSpPr txBox="1"/>
          <p:nvPr/>
        </p:nvSpPr>
        <p:spPr>
          <a:xfrm>
            <a:off x="3041103" y="1399411"/>
            <a:ext cx="4876939" cy="2585323"/>
          </a:xfrm>
          <a:prstGeom prst="rect">
            <a:avLst/>
          </a:prstGeom>
          <a:noFill/>
        </p:spPr>
        <p:txBody>
          <a:bodyPr wrap="square" lIns="91440" tIns="45720" rIns="91440" bIns="45720" anchor="t">
            <a:spAutoFit/>
          </a:bodyPr>
          <a:lstStyle/>
          <a:p>
            <a:pPr marL="342424" indent="-342424">
              <a:buFont typeface="Symbol" panose="05050102010706020507" pitchFamily="18" charset="2"/>
              <a:buChar char=""/>
            </a:pPr>
            <a:r>
              <a:rPr lang="en-US" sz="1800"/>
              <a:t>Over a decade of medical communications experience on the agency side in scientific publications, strategy, planning, and team leadership</a:t>
            </a:r>
          </a:p>
          <a:p>
            <a:pPr marL="342424" indent="-342424">
              <a:buFont typeface="Symbol" panose="05050102010706020507" pitchFamily="18" charset="2"/>
              <a:buChar char=""/>
            </a:pPr>
            <a:r>
              <a:rPr lang="en-US" sz="1800"/>
              <a:t>Fosters innovation and best practices to advance scientific communication capabilities</a:t>
            </a:r>
          </a:p>
          <a:p>
            <a:pPr marL="342424" indent="-342424">
              <a:buFont typeface="Symbol" panose="05050102010706020507" pitchFamily="18" charset="2"/>
              <a:buChar char=""/>
            </a:pPr>
            <a:r>
              <a:rPr lang="en-US" sz="1800"/>
              <a:t>Volunteer serving on the ISMPP Patient Engagement Task Force</a:t>
            </a:r>
            <a:endParaRPr lang="en-US" sz="1800">
              <a:solidFill>
                <a:prstClr val="black"/>
              </a:solidFill>
            </a:endParaRPr>
          </a:p>
        </p:txBody>
      </p:sp>
      <p:pic>
        <p:nvPicPr>
          <p:cNvPr id="8" name="Picture 7">
            <a:extLst>
              <a:ext uri="{FF2B5EF4-FFF2-40B4-BE49-F238E27FC236}">
                <a16:creationId xmlns:a16="http://schemas.microsoft.com/office/drawing/2014/main" id="{65AEAB05-6AB2-B0B8-2264-88E78BAFC813}"/>
              </a:ext>
            </a:extLst>
          </p:cNvPr>
          <p:cNvPicPr>
            <a:picLocks noChangeAspect="1"/>
          </p:cNvPicPr>
          <p:nvPr/>
        </p:nvPicPr>
        <p:blipFill>
          <a:blip r:embed="rId2"/>
          <a:srcRect l="14298" r="14298"/>
          <a:stretch/>
        </p:blipFill>
        <p:spPr>
          <a:xfrm>
            <a:off x="991554" y="1226344"/>
            <a:ext cx="1863563" cy="2609851"/>
          </a:xfrm>
          <a:prstGeom prst="ellipse">
            <a:avLst/>
          </a:prstGeom>
          <a:ln w="57150">
            <a:solidFill>
              <a:schemeClr val="bg2">
                <a:lumMod val="25000"/>
              </a:schemeClr>
            </a:solidFill>
          </a:ln>
        </p:spPr>
      </p:pic>
    </p:spTree>
    <p:extLst>
      <p:ext uri="{BB962C8B-B14F-4D97-AF65-F5344CB8AC3E}">
        <p14:creationId xmlns:p14="http://schemas.microsoft.com/office/powerpoint/2010/main" val="21174401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364296-4F47-4B80-BE8E-709BBE7771E2}"/>
              </a:ext>
            </a:extLst>
          </p:cNvPr>
          <p:cNvSpPr>
            <a:spLocks noGrp="1"/>
          </p:cNvSpPr>
          <p:nvPr>
            <p:ph type="title"/>
          </p:nvPr>
        </p:nvSpPr>
        <p:spPr/>
        <p:txBody>
          <a:bodyPr>
            <a:normAutofit/>
          </a:bodyPr>
          <a:lstStyle/>
          <a:p>
            <a:r>
              <a:rPr lang="en-US" sz="3000"/>
              <a:t>ISMPP Announcements</a:t>
            </a:r>
          </a:p>
        </p:txBody>
      </p:sp>
      <p:sp>
        <p:nvSpPr>
          <p:cNvPr id="8" name="Rectangle 7">
            <a:extLst>
              <a:ext uri="{FF2B5EF4-FFF2-40B4-BE49-F238E27FC236}">
                <a16:creationId xmlns:a16="http://schemas.microsoft.com/office/drawing/2014/main" id="{554B3AC2-C027-437C-9915-938F4F4B87B9}"/>
              </a:ext>
            </a:extLst>
          </p:cNvPr>
          <p:cNvSpPr/>
          <p:nvPr/>
        </p:nvSpPr>
        <p:spPr>
          <a:xfrm>
            <a:off x="696717" y="1137514"/>
            <a:ext cx="7421773" cy="4471160"/>
          </a:xfrm>
          <a:prstGeom prst="rect">
            <a:avLst/>
          </a:prstGeom>
        </p:spPr>
        <p:txBody>
          <a:bodyPr wrap="square" lIns="91440" tIns="45720" rIns="91440" bIns="45720" anchor="t">
            <a:spAutoFit/>
          </a:bodyPr>
          <a:lstStyle/>
          <a:p>
            <a:pPr algn="ctr" defTabSz="685783">
              <a:spcBef>
                <a:spcPts val="600"/>
              </a:spcBef>
              <a:defRPr/>
            </a:pPr>
            <a:r>
              <a:rPr lang="en-US" sz="2700" b="1" spc="-23">
                <a:solidFill>
                  <a:srgbClr val="FF0000"/>
                </a:solidFill>
                <a:latin typeface="Franklin Gothic Demi"/>
                <a:ea typeface="ＭＳ Ｐゴシック"/>
                <a:cs typeface="Calibri"/>
              </a:rPr>
              <a:t>NEW</a:t>
            </a:r>
            <a:r>
              <a:rPr lang="en-US" sz="2700" b="1" spc="-23">
                <a:solidFill>
                  <a:schemeClr val="accent1">
                    <a:lumMod val="75000"/>
                  </a:schemeClr>
                </a:solidFill>
                <a:latin typeface="Franklin Gothic Demi"/>
                <a:ea typeface="ＭＳ Ｐゴシック"/>
                <a:cs typeface="Calibri"/>
              </a:rPr>
              <a:t> ISMPP Academy</a:t>
            </a:r>
            <a:endParaRPr lang="en-US" sz="2700" b="1">
              <a:solidFill>
                <a:schemeClr val="accent1">
                  <a:lumMod val="75000"/>
                </a:schemeClr>
              </a:solidFill>
              <a:latin typeface="Franklin Gothic Demi"/>
              <a:ea typeface="ＭＳ Ｐゴシック"/>
              <a:cs typeface="Calibri"/>
            </a:endParaRPr>
          </a:p>
          <a:p>
            <a:pPr algn="ctr" defTabSz="685783">
              <a:spcBef>
                <a:spcPts val="600"/>
              </a:spcBef>
              <a:defRPr/>
            </a:pPr>
            <a:endParaRPr lang="en-US" sz="600" b="1" spc="-23">
              <a:solidFill>
                <a:srgbClr val="0070C0"/>
              </a:solidFill>
              <a:latin typeface="Franklin Gothic Book"/>
              <a:ea typeface="ＭＳ Ｐゴシック"/>
              <a:cs typeface="Calibri"/>
            </a:endParaRPr>
          </a:p>
          <a:p>
            <a:pPr algn="ctr" defTabSz="685783">
              <a:spcBef>
                <a:spcPts val="600"/>
              </a:spcBef>
              <a:defRPr/>
            </a:pPr>
            <a:r>
              <a:rPr lang="en-US" sz="1800" b="1" spc="-23">
                <a:solidFill>
                  <a:srgbClr val="0070C0"/>
                </a:solidFill>
                <a:latin typeface="Franklin Gothic Book"/>
                <a:ea typeface="ＭＳ Ｐゴシック"/>
                <a:cs typeface="Calibri"/>
              </a:rPr>
              <a:t>Save the date: </a:t>
            </a:r>
            <a:r>
              <a:rPr lang="en-US" sz="1800" b="1" spc="-23">
                <a:solidFill>
                  <a:srgbClr val="0070C0"/>
                </a:solidFill>
                <a:latin typeface="Franklin Gothic Demi"/>
                <a:ea typeface="ＭＳ Ｐゴシック"/>
                <a:cs typeface="Calibri"/>
              </a:rPr>
              <a:t>November 13-14, 2024</a:t>
            </a:r>
            <a:endParaRPr lang="en-US" sz="1800" b="1">
              <a:latin typeface="Franklin Gothic Demi"/>
            </a:endParaRPr>
          </a:p>
          <a:p>
            <a:pPr algn="ctr" defTabSz="685783">
              <a:spcBef>
                <a:spcPts val="600"/>
              </a:spcBef>
              <a:defRPr/>
            </a:pPr>
            <a:r>
              <a:rPr lang="en-US" sz="1800" b="1" spc="-23">
                <a:solidFill>
                  <a:srgbClr val="0070C0"/>
                </a:solidFill>
                <a:latin typeface="Franklin Gothic Book"/>
                <a:ea typeface="ＭＳ Ｐゴシック"/>
                <a:cs typeface="Calibri"/>
              </a:rPr>
              <a:t>Where: </a:t>
            </a:r>
            <a:r>
              <a:rPr lang="en-US" sz="1800" b="1" spc="-23">
                <a:solidFill>
                  <a:srgbClr val="0070C0"/>
                </a:solidFill>
                <a:latin typeface="Franklin Gothic Demi"/>
                <a:ea typeface="ＭＳ Ｐゴシック"/>
                <a:cs typeface="Calibri"/>
              </a:rPr>
              <a:t>Convene at Commerce Square, Two Commerce Square, Philadelphia, PA 19103</a:t>
            </a:r>
            <a:endParaRPr lang="en-US" sz="600">
              <a:solidFill>
                <a:srgbClr val="000000"/>
              </a:solidFill>
              <a:latin typeface="Franklin Gothic Demi"/>
              <a:ea typeface="ＭＳ Ｐゴシック"/>
              <a:cs typeface="Calibri"/>
            </a:endParaRPr>
          </a:p>
          <a:p>
            <a:pPr algn="ctr" defTabSz="685783">
              <a:defRPr/>
            </a:pPr>
            <a:r>
              <a:rPr lang="en-US" sz="1800" b="1" spc="-23">
                <a:solidFill>
                  <a:schemeClr val="accent1">
                    <a:lumMod val="75000"/>
                  </a:schemeClr>
                </a:solidFill>
                <a:ea typeface="ＭＳ Ｐゴシック"/>
                <a:cs typeface="Calibri"/>
              </a:rPr>
              <a:t>ISMPP Academy </a:t>
            </a:r>
            <a:r>
              <a:rPr lang="en-US" sz="1800" spc="-23">
                <a:solidFill>
                  <a:schemeClr val="accent1">
                    <a:lumMod val="75000"/>
                  </a:schemeClr>
                </a:solidFill>
                <a:ea typeface="ＭＳ Ｐゴシック"/>
                <a:cs typeface="Calibri"/>
              </a:rPr>
              <a:t>is a meeting that will deliver </a:t>
            </a:r>
          </a:p>
          <a:p>
            <a:pPr algn="ctr" defTabSz="685783">
              <a:spcAft>
                <a:spcPts val="450"/>
              </a:spcAft>
              <a:defRPr/>
            </a:pPr>
            <a:r>
              <a:rPr lang="en-US" sz="1800" b="1" spc="-23">
                <a:solidFill>
                  <a:schemeClr val="accent1">
                    <a:lumMod val="75000"/>
                  </a:schemeClr>
                </a:solidFill>
                <a:ea typeface="ＭＳ Ｐゴシック"/>
                <a:cs typeface="Calibri"/>
              </a:rPr>
              <a:t>best practices education</a:t>
            </a:r>
            <a:r>
              <a:rPr lang="en-US" sz="1800" spc="-23">
                <a:solidFill>
                  <a:schemeClr val="accent1">
                    <a:lumMod val="75000"/>
                  </a:schemeClr>
                </a:solidFill>
                <a:ea typeface="ＭＳ Ｐゴシック"/>
                <a:cs typeface="Calibri"/>
              </a:rPr>
              <a:t> to</a:t>
            </a:r>
            <a:r>
              <a:rPr lang="en-US" sz="1800" b="1" spc="-23">
                <a:solidFill>
                  <a:schemeClr val="accent1">
                    <a:lumMod val="75000"/>
                  </a:schemeClr>
                </a:solidFill>
                <a:ea typeface="ＭＳ Ｐゴシック"/>
                <a:cs typeface="Calibri"/>
              </a:rPr>
              <a:t> </a:t>
            </a:r>
            <a:r>
              <a:rPr lang="en-US" sz="1800" spc="-23">
                <a:solidFill>
                  <a:schemeClr val="accent1">
                    <a:lumMod val="75000"/>
                  </a:schemeClr>
                </a:solidFill>
                <a:ea typeface="ＭＳ Ｐゴシック"/>
                <a:cs typeface="Calibri"/>
              </a:rPr>
              <a:t>professionals:  </a:t>
            </a:r>
          </a:p>
          <a:p>
            <a:pPr marL="953" algn="ctr" defTabSz="685783">
              <a:spcAft>
                <a:spcPts val="450"/>
              </a:spcAft>
              <a:defRPr/>
            </a:pPr>
            <a:r>
              <a:rPr lang="en-US" sz="1800" spc="-23">
                <a:solidFill>
                  <a:schemeClr val="accent1">
                    <a:lumMod val="75000"/>
                  </a:schemeClr>
                </a:solidFill>
                <a:ea typeface="ＭＳ Ｐゴシック"/>
                <a:cs typeface="Calibri"/>
                <a:sym typeface="Symbol" panose="05050102010706020507" pitchFamily="18" charset="2"/>
              </a:rPr>
              <a:t> </a:t>
            </a:r>
            <a:r>
              <a:rPr lang="en-US" sz="1800" spc="-23">
                <a:solidFill>
                  <a:schemeClr val="accent1">
                    <a:lumMod val="75000"/>
                  </a:schemeClr>
                </a:solidFill>
                <a:ea typeface="ＭＳ Ｐゴシック"/>
                <a:cs typeface="Calibri"/>
              </a:rPr>
              <a:t>Who work at biotechnology, small pharma, and medical device companies </a:t>
            </a:r>
            <a:r>
              <a:rPr lang="en-US" sz="1800" spc="-23">
                <a:solidFill>
                  <a:schemeClr val="accent1">
                    <a:lumMod val="75000"/>
                  </a:schemeClr>
                </a:solidFill>
                <a:ea typeface="ＭＳ Ｐゴシック"/>
                <a:cs typeface="Calibri"/>
                <a:sym typeface="Symbol" panose="05050102010706020507" pitchFamily="18" charset="2"/>
              </a:rPr>
              <a:t></a:t>
            </a:r>
            <a:endParaRPr lang="en-US" sz="1800" spc="-23">
              <a:solidFill>
                <a:schemeClr val="accent1">
                  <a:lumMod val="75000"/>
                </a:schemeClr>
              </a:solidFill>
              <a:ea typeface="ＭＳ Ｐゴシック"/>
              <a:cs typeface="Calibri"/>
            </a:endParaRPr>
          </a:p>
          <a:p>
            <a:pPr marL="953" algn="ctr" defTabSz="685783">
              <a:spcAft>
                <a:spcPts val="450"/>
              </a:spcAft>
              <a:defRPr/>
            </a:pPr>
            <a:r>
              <a:rPr lang="en-US" sz="1800" spc="-23">
                <a:solidFill>
                  <a:schemeClr val="accent1">
                    <a:lumMod val="75000"/>
                  </a:schemeClr>
                </a:solidFill>
                <a:ea typeface="ＭＳ Ｐゴシック"/>
                <a:cs typeface="Calibri"/>
                <a:sym typeface="Symbol" panose="05050102010706020507" pitchFamily="18" charset="2"/>
              </a:rPr>
              <a:t>  </a:t>
            </a:r>
            <a:r>
              <a:rPr lang="en-US" sz="1800" spc="-23">
                <a:solidFill>
                  <a:schemeClr val="accent1">
                    <a:lumMod val="75000"/>
                  </a:schemeClr>
                </a:solidFill>
                <a:ea typeface="ＭＳ Ｐゴシック"/>
                <a:cs typeface="Calibri"/>
              </a:rPr>
              <a:t>Who are newer to the field </a:t>
            </a:r>
            <a:r>
              <a:rPr lang="en-US" sz="1800" spc="-23">
                <a:solidFill>
                  <a:schemeClr val="accent1">
                    <a:lumMod val="75000"/>
                  </a:schemeClr>
                </a:solidFill>
                <a:ea typeface="ＭＳ Ｐゴシック"/>
                <a:cs typeface="Calibri"/>
                <a:sym typeface="Symbol" panose="05050102010706020507" pitchFamily="18" charset="2"/>
              </a:rPr>
              <a:t></a:t>
            </a:r>
            <a:endParaRPr lang="en-US" sz="1800" spc="-23">
              <a:solidFill>
                <a:schemeClr val="accent1">
                  <a:lumMod val="75000"/>
                </a:schemeClr>
              </a:solidFill>
              <a:ea typeface="ＭＳ Ｐゴシック"/>
              <a:cs typeface="Calibri"/>
            </a:endParaRPr>
          </a:p>
          <a:p>
            <a:pPr marL="953" algn="ctr" defTabSz="685783">
              <a:spcAft>
                <a:spcPts val="450"/>
              </a:spcAft>
              <a:defRPr/>
            </a:pPr>
            <a:r>
              <a:rPr lang="en-US" sz="1800" spc="-23">
                <a:solidFill>
                  <a:schemeClr val="accent1">
                    <a:lumMod val="75000"/>
                  </a:schemeClr>
                </a:solidFill>
                <a:ea typeface="ＭＳ Ｐゴシック"/>
                <a:cs typeface="Calibri"/>
                <a:sym typeface="Symbol" panose="05050102010706020507" pitchFamily="18" charset="2"/>
              </a:rPr>
              <a:t> </a:t>
            </a:r>
            <a:r>
              <a:rPr lang="en-US" sz="1800" spc="-23">
                <a:solidFill>
                  <a:schemeClr val="accent1">
                    <a:lumMod val="75000"/>
                  </a:schemeClr>
                </a:solidFill>
                <a:ea typeface="ＭＳ Ｐゴシック"/>
                <a:cs typeface="Calibri"/>
              </a:rPr>
              <a:t>Who want to build their expertise </a:t>
            </a:r>
            <a:r>
              <a:rPr lang="en-US" sz="1800" spc="-23">
                <a:solidFill>
                  <a:schemeClr val="accent1">
                    <a:lumMod val="75000"/>
                  </a:schemeClr>
                </a:solidFill>
                <a:ea typeface="ＭＳ Ｐゴシック"/>
                <a:cs typeface="Calibri"/>
                <a:sym typeface="Symbol" panose="05050102010706020507" pitchFamily="18" charset="2"/>
              </a:rPr>
              <a:t></a:t>
            </a:r>
            <a:r>
              <a:rPr lang="en-US" sz="1800" spc="-23">
                <a:solidFill>
                  <a:schemeClr val="accent1">
                    <a:lumMod val="75000"/>
                  </a:schemeClr>
                </a:solidFill>
                <a:ea typeface="ＭＳ Ｐゴシック"/>
                <a:cs typeface="Calibri"/>
              </a:rPr>
              <a:t>  </a:t>
            </a:r>
            <a:endParaRPr lang="en-US" sz="900" b="1" spc="-23">
              <a:solidFill>
                <a:schemeClr val="accent1">
                  <a:lumMod val="75000"/>
                </a:schemeClr>
              </a:solidFill>
              <a:latin typeface="Franklin Gothic Book"/>
              <a:ea typeface="ＭＳ Ｐゴシック"/>
              <a:cs typeface="Calibri"/>
            </a:endParaRPr>
          </a:p>
          <a:p>
            <a:pPr algn="ctr" defTabSz="685783">
              <a:spcBef>
                <a:spcPts val="600"/>
              </a:spcBef>
              <a:defRPr/>
            </a:pPr>
            <a:r>
              <a:rPr lang="en-US" sz="2100" spc="-23">
                <a:solidFill>
                  <a:srgbClr val="FF0000"/>
                </a:solidFill>
                <a:latin typeface="Franklin Gothic Demi"/>
                <a:ea typeface="ＭＳ Ｐゴシック"/>
                <a:cs typeface="Calibri"/>
              </a:rPr>
              <a:t>Registration is open! </a:t>
            </a:r>
            <a:endParaRPr lang="en-US" sz="2100">
              <a:solidFill>
                <a:srgbClr val="FF0000"/>
              </a:solidFill>
              <a:latin typeface="Franklin Gothic Demi"/>
            </a:endParaRPr>
          </a:p>
          <a:p>
            <a:pPr marL="285274" indent="-285274" defTabSz="685783">
              <a:spcBef>
                <a:spcPts val="600"/>
              </a:spcBef>
              <a:buFont typeface="Arial" panose="020B0604020202020204" pitchFamily="34" charset="0"/>
              <a:buChar char="•"/>
              <a:defRPr/>
            </a:pPr>
            <a:endParaRPr lang="en-US" sz="1988" b="1" spc="-23">
              <a:solidFill>
                <a:srgbClr val="0070C0"/>
              </a:solidFill>
              <a:latin typeface="Franklin Gothic Book"/>
              <a:ea typeface="ＭＳ Ｐゴシック"/>
              <a:cs typeface="Calibri"/>
            </a:endParaRPr>
          </a:p>
          <a:p>
            <a:pPr>
              <a:spcBef>
                <a:spcPts val="600"/>
              </a:spcBef>
              <a:defRPr/>
            </a:pPr>
            <a:endParaRPr lang="en-US" sz="2000" spc="-23">
              <a:latin typeface="Franklin Gothic Book"/>
              <a:ea typeface="ＭＳ Ｐゴシック" pitchFamily="34" charset="-128"/>
              <a:cs typeface="Calibri" pitchFamily="34" charset="0"/>
            </a:endParaRPr>
          </a:p>
        </p:txBody>
      </p:sp>
      <p:sp>
        <p:nvSpPr>
          <p:cNvPr id="12" name="Slide Number Placeholder 11">
            <a:extLst>
              <a:ext uri="{FF2B5EF4-FFF2-40B4-BE49-F238E27FC236}">
                <a16:creationId xmlns:a16="http://schemas.microsoft.com/office/drawing/2014/main" id="{6EBA44AA-A0DD-0A93-1CA5-DC0EA60BB0C9}"/>
              </a:ext>
            </a:extLst>
          </p:cNvPr>
          <p:cNvSpPr>
            <a:spLocks noGrp="1"/>
          </p:cNvSpPr>
          <p:nvPr>
            <p:ph type="sldNum" sz="quarter" idx="10"/>
          </p:nvPr>
        </p:nvSpPr>
        <p:spPr/>
        <p:txBody>
          <a:bodyPr/>
          <a:lstStyle/>
          <a:p>
            <a:fld id="{42AD0A0E-4515-A647-B2E3-7F1B29FB990E}" type="slidenum">
              <a:rPr lang="en-US" smtClean="0"/>
              <a:pPr/>
              <a:t>4</a:t>
            </a:fld>
            <a:endParaRPr lang="en-US"/>
          </a:p>
        </p:txBody>
      </p:sp>
      <p:pic>
        <p:nvPicPr>
          <p:cNvPr id="4" name="Graphic 3" descr="Megaphone1 with solid fill">
            <a:extLst>
              <a:ext uri="{FF2B5EF4-FFF2-40B4-BE49-F238E27FC236}">
                <a16:creationId xmlns:a16="http://schemas.microsoft.com/office/drawing/2014/main" id="{727FB416-C30D-9BFD-5675-8925BD53533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44653" y="904342"/>
            <a:ext cx="1428749" cy="1428749"/>
          </a:xfrm>
          <a:prstGeom prst="rect">
            <a:avLst/>
          </a:prstGeom>
        </p:spPr>
      </p:pic>
    </p:spTree>
    <p:extLst>
      <p:ext uri="{BB962C8B-B14F-4D97-AF65-F5344CB8AC3E}">
        <p14:creationId xmlns:p14="http://schemas.microsoft.com/office/powerpoint/2010/main" val="31633312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Freeform: Shape 24">
            <a:extLst>
              <a:ext uri="{FF2B5EF4-FFF2-40B4-BE49-F238E27FC236}">
                <a16:creationId xmlns:a16="http://schemas.microsoft.com/office/drawing/2014/main" id="{A3FD4A1C-9821-443E-9CA3-AE73D3D581DE}"/>
              </a:ext>
            </a:extLst>
          </p:cNvPr>
          <p:cNvSpPr/>
          <p:nvPr/>
        </p:nvSpPr>
        <p:spPr>
          <a:xfrm>
            <a:off x="3595925" y="1279669"/>
            <a:ext cx="1985310" cy="3257942"/>
          </a:xfrm>
          <a:custGeom>
            <a:avLst/>
            <a:gdLst>
              <a:gd name="connsiteX0" fmla="*/ 2074820 w 4149640"/>
              <a:gd name="connsiteY0" fmla="*/ 5213650 h 6809667"/>
              <a:gd name="connsiteX1" fmla="*/ 2872829 w 4149640"/>
              <a:gd name="connsiteY1" fmla="*/ 6011659 h 6809667"/>
              <a:gd name="connsiteX2" fmla="*/ 2074820 w 4149640"/>
              <a:gd name="connsiteY2" fmla="*/ 6809667 h 6809667"/>
              <a:gd name="connsiteX3" fmla="*/ 1276812 w 4149640"/>
              <a:gd name="connsiteY3" fmla="*/ 6011659 h 6809667"/>
              <a:gd name="connsiteX4" fmla="*/ 2074820 w 4149640"/>
              <a:gd name="connsiteY4" fmla="*/ 5213650 h 6809667"/>
              <a:gd name="connsiteX5" fmla="*/ 2074820 w 4149640"/>
              <a:gd name="connsiteY5" fmla="*/ 0 h 6809667"/>
              <a:gd name="connsiteX6" fmla="*/ 4149640 w 4149640"/>
              <a:gd name="connsiteY6" fmla="*/ 2074820 h 6809667"/>
              <a:gd name="connsiteX7" fmla="*/ 3418133 w 4149640"/>
              <a:gd name="connsiteY7" fmla="*/ 3656207 h 6809667"/>
              <a:gd name="connsiteX8" fmla="*/ 2872828 w 4149640"/>
              <a:gd name="connsiteY8" fmla="*/ 4119051 h 6809667"/>
              <a:gd name="connsiteX9" fmla="*/ 2872828 w 4149640"/>
              <a:gd name="connsiteY9" fmla="*/ 4814648 h 6809667"/>
              <a:gd name="connsiteX10" fmla="*/ 1276812 w 4149640"/>
              <a:gd name="connsiteY10" fmla="*/ 4814648 h 6809667"/>
              <a:gd name="connsiteX11" fmla="*/ 1276812 w 4149640"/>
              <a:gd name="connsiteY11" fmla="*/ 3382224 h 6809667"/>
              <a:gd name="connsiteX12" fmla="*/ 2074820 w 4149640"/>
              <a:gd name="connsiteY12" fmla="*/ 2703916 h 6809667"/>
              <a:gd name="connsiteX13" fmla="*/ 2384713 w 4149640"/>
              <a:gd name="connsiteY13" fmla="*/ 2440574 h 6809667"/>
              <a:gd name="connsiteX14" fmla="*/ 2553625 w 4149640"/>
              <a:gd name="connsiteY14" fmla="*/ 2074820 h 6809667"/>
              <a:gd name="connsiteX15" fmla="*/ 2074820 w 4149640"/>
              <a:gd name="connsiteY15" fmla="*/ 1596016 h 6809667"/>
              <a:gd name="connsiteX16" fmla="*/ 1596016 w 4149640"/>
              <a:gd name="connsiteY16" fmla="*/ 2074820 h 6809667"/>
              <a:gd name="connsiteX17" fmla="*/ 1596016 w 4149640"/>
              <a:gd name="connsiteY17" fmla="*/ 2274322 h 6809667"/>
              <a:gd name="connsiteX18" fmla="*/ 0 w 4149640"/>
              <a:gd name="connsiteY18" fmla="*/ 2274322 h 6809667"/>
              <a:gd name="connsiteX19" fmla="*/ 0 w 4149640"/>
              <a:gd name="connsiteY19" fmla="*/ 2074820 h 6809667"/>
              <a:gd name="connsiteX20" fmla="*/ 2074820 w 4149640"/>
              <a:gd name="connsiteY20" fmla="*/ 0 h 680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149640" h="6809667">
                <a:moveTo>
                  <a:pt x="2074820" y="5213650"/>
                </a:moveTo>
                <a:cubicBezTo>
                  <a:pt x="2515548" y="5213650"/>
                  <a:pt x="2872829" y="5570930"/>
                  <a:pt x="2872829" y="6011659"/>
                </a:cubicBezTo>
                <a:cubicBezTo>
                  <a:pt x="2872829" y="6452386"/>
                  <a:pt x="2515548" y="6809667"/>
                  <a:pt x="2074820" y="6809667"/>
                </a:cubicBezTo>
                <a:cubicBezTo>
                  <a:pt x="1634092" y="6809667"/>
                  <a:pt x="1276812" y="6452386"/>
                  <a:pt x="1276812" y="6011659"/>
                </a:cubicBezTo>
                <a:cubicBezTo>
                  <a:pt x="1276812" y="5570930"/>
                  <a:pt x="1634092" y="5213650"/>
                  <a:pt x="2074820" y="5213650"/>
                </a:cubicBezTo>
                <a:close/>
                <a:moveTo>
                  <a:pt x="2074820" y="0"/>
                </a:moveTo>
                <a:cubicBezTo>
                  <a:pt x="3218631" y="0"/>
                  <a:pt x="4149640" y="931009"/>
                  <a:pt x="4149640" y="2074820"/>
                </a:cubicBezTo>
                <a:cubicBezTo>
                  <a:pt x="4149640" y="2683966"/>
                  <a:pt x="3882308" y="3261193"/>
                  <a:pt x="3418133" y="3656207"/>
                </a:cubicBezTo>
                <a:lnTo>
                  <a:pt x="2872828" y="4119051"/>
                </a:lnTo>
                <a:lnTo>
                  <a:pt x="2872828" y="4814648"/>
                </a:lnTo>
                <a:lnTo>
                  <a:pt x="1276812" y="4814648"/>
                </a:lnTo>
                <a:lnTo>
                  <a:pt x="1276812" y="3382224"/>
                </a:lnTo>
                <a:lnTo>
                  <a:pt x="2074820" y="2703916"/>
                </a:lnTo>
                <a:lnTo>
                  <a:pt x="2384713" y="2440574"/>
                </a:lnTo>
                <a:cubicBezTo>
                  <a:pt x="2492444" y="2348803"/>
                  <a:pt x="2553625" y="2215802"/>
                  <a:pt x="2553625" y="2074820"/>
                </a:cubicBezTo>
                <a:cubicBezTo>
                  <a:pt x="2553625" y="1811478"/>
                  <a:pt x="2338163" y="1596016"/>
                  <a:pt x="2074820" y="1596016"/>
                </a:cubicBezTo>
                <a:cubicBezTo>
                  <a:pt x="1811478" y="1596016"/>
                  <a:pt x="1596016" y="1811478"/>
                  <a:pt x="1596016" y="2074820"/>
                </a:cubicBezTo>
                <a:lnTo>
                  <a:pt x="1596016" y="2274322"/>
                </a:lnTo>
                <a:lnTo>
                  <a:pt x="0" y="2274322"/>
                </a:lnTo>
                <a:lnTo>
                  <a:pt x="0" y="2074820"/>
                </a:lnTo>
                <a:cubicBezTo>
                  <a:pt x="0" y="931009"/>
                  <a:pt x="931009" y="0"/>
                  <a:pt x="2074820" y="0"/>
                </a:cubicBezTo>
                <a:close/>
              </a:path>
            </a:pathLst>
          </a:custGeom>
          <a:solidFill>
            <a:schemeClr val="accent2">
              <a:lumMod val="20000"/>
              <a:lumOff val="80000"/>
            </a:schemeClr>
          </a:solidFill>
          <a:ln w="9525" cap="flat">
            <a:noFill/>
            <a:prstDash val="solid"/>
            <a:miter/>
          </a:ln>
        </p:spPr>
        <p:txBody>
          <a:bodyPr rtlCol="0" anchor="ctr"/>
          <a:lstStyle/>
          <a:p>
            <a:pPr defTabSz="685783">
              <a:defRPr/>
            </a:pPr>
            <a:endParaRPr lang="en-GB" sz="506">
              <a:solidFill>
                <a:prstClr val="black"/>
              </a:solidFill>
              <a:latin typeface="Franklin Gothic Book" panose="020B0503020102020204"/>
            </a:endParaRPr>
          </a:p>
        </p:txBody>
      </p:sp>
      <p:sp>
        <p:nvSpPr>
          <p:cNvPr id="7" name="Title 6">
            <a:extLst>
              <a:ext uri="{FF2B5EF4-FFF2-40B4-BE49-F238E27FC236}">
                <a16:creationId xmlns:a16="http://schemas.microsoft.com/office/drawing/2014/main" id="{6C2C93BE-CE3D-4DE4-B069-C376301A6A65}"/>
              </a:ext>
            </a:extLst>
          </p:cNvPr>
          <p:cNvSpPr>
            <a:spLocks noGrp="1"/>
          </p:cNvSpPr>
          <p:nvPr>
            <p:ph type="title"/>
          </p:nvPr>
        </p:nvSpPr>
        <p:spPr/>
        <p:txBody>
          <a:bodyPr>
            <a:normAutofit/>
          </a:bodyPr>
          <a:lstStyle/>
          <a:p>
            <a:r>
              <a:rPr lang="en-US" sz="3000"/>
              <a:t>How To Ask Questions</a:t>
            </a:r>
          </a:p>
        </p:txBody>
      </p:sp>
      <p:sp>
        <p:nvSpPr>
          <p:cNvPr id="8" name="Slide Number Placeholder 3">
            <a:extLst>
              <a:ext uri="{FF2B5EF4-FFF2-40B4-BE49-F238E27FC236}">
                <a16:creationId xmlns:a16="http://schemas.microsoft.com/office/drawing/2014/main" id="{44C72608-80B2-43A3-BD8E-50C311A9E3AB}"/>
              </a:ext>
            </a:extLst>
          </p:cNvPr>
          <p:cNvSpPr>
            <a:spLocks noGrp="1"/>
          </p:cNvSpPr>
          <p:nvPr>
            <p:ph type="sldNum" sz="quarter" idx="10"/>
          </p:nvPr>
        </p:nvSpPr>
        <p:spPr>
          <a:xfrm>
            <a:off x="6985487" y="27288"/>
            <a:ext cx="2057400" cy="273844"/>
          </a:xfrm>
        </p:spPr>
        <p:txBody>
          <a:bodyPr/>
          <a:lstStyle/>
          <a:p>
            <a:pPr defTabSz="685783">
              <a:defRPr/>
            </a:pPr>
            <a:fld id="{42AD0A0E-4515-A647-B2E3-7F1B29FB990E}" type="slidenum">
              <a:rPr lang="en-US">
                <a:solidFill>
                  <a:prstClr val="black"/>
                </a:solidFill>
                <a:latin typeface="Franklin Gothic Book" panose="020B0503020102020204"/>
              </a:rPr>
              <a:pPr defTabSz="685783">
                <a:defRPr/>
              </a:pPr>
              <a:t>5</a:t>
            </a:fld>
            <a:endParaRPr lang="en-US">
              <a:solidFill>
                <a:prstClr val="black"/>
              </a:solidFill>
              <a:latin typeface="Franklin Gothic Book" panose="020B0503020102020204"/>
            </a:endParaRPr>
          </a:p>
        </p:txBody>
      </p:sp>
      <p:sp>
        <p:nvSpPr>
          <p:cNvPr id="4" name="Rectangle 3"/>
          <p:cNvSpPr/>
          <p:nvPr/>
        </p:nvSpPr>
        <p:spPr>
          <a:xfrm>
            <a:off x="5497116" y="4400550"/>
            <a:ext cx="464188" cy="571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66" fontAlgn="base">
              <a:spcBef>
                <a:spcPct val="0"/>
              </a:spcBef>
              <a:spcAft>
                <a:spcPct val="0"/>
              </a:spcAft>
              <a:defRPr/>
            </a:pPr>
            <a:endParaRPr lang="en-US" sz="1013">
              <a:solidFill>
                <a:prstClr val="white"/>
              </a:solidFill>
              <a:latin typeface="Calibri"/>
            </a:endParaRPr>
          </a:p>
        </p:txBody>
      </p:sp>
      <p:grpSp>
        <p:nvGrpSpPr>
          <p:cNvPr id="11" name="Group 10">
            <a:extLst>
              <a:ext uri="{FF2B5EF4-FFF2-40B4-BE49-F238E27FC236}">
                <a16:creationId xmlns:a16="http://schemas.microsoft.com/office/drawing/2014/main" id="{9F6AFA23-FBDC-4468-A59A-D56F421CFE00}"/>
              </a:ext>
            </a:extLst>
          </p:cNvPr>
          <p:cNvGrpSpPr>
            <a:grpSpLocks/>
          </p:cNvGrpSpPr>
          <p:nvPr/>
        </p:nvGrpSpPr>
        <p:grpSpPr>
          <a:xfrm>
            <a:off x="971551" y="1333152"/>
            <a:ext cx="7348361" cy="720000"/>
            <a:chOff x="395288" y="6318314"/>
            <a:chExt cx="15749901" cy="1008000"/>
          </a:xfrm>
        </p:grpSpPr>
        <p:sp>
          <p:nvSpPr>
            <p:cNvPr id="12" name="Rectangle: Rounded Corners 11">
              <a:extLst>
                <a:ext uri="{FF2B5EF4-FFF2-40B4-BE49-F238E27FC236}">
                  <a16:creationId xmlns:a16="http://schemas.microsoft.com/office/drawing/2014/main" id="{51C084D7-F551-4315-A7A0-4001CAB0044E}"/>
                </a:ext>
              </a:extLst>
            </p:cNvPr>
            <p:cNvSpPr>
              <a:spLocks/>
            </p:cNvSpPr>
            <p:nvPr/>
          </p:nvSpPr>
          <p:spPr>
            <a:xfrm>
              <a:off x="395288" y="6318314"/>
              <a:ext cx="15749901" cy="1008000"/>
            </a:xfrm>
            <a:prstGeom prst="roundRect">
              <a:avLst>
                <a:gd name="adj" fmla="val 11108"/>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GB" sz="1800">
                <a:solidFill>
                  <a:prstClr val="black"/>
                </a:solidFill>
                <a:latin typeface="Franklin Gothic Book" panose="020B0503020102020204"/>
              </a:endParaRPr>
            </a:p>
          </p:txBody>
        </p:sp>
        <p:sp>
          <p:nvSpPr>
            <p:cNvPr id="13" name="Rectangle 12">
              <a:extLst>
                <a:ext uri="{FF2B5EF4-FFF2-40B4-BE49-F238E27FC236}">
                  <a16:creationId xmlns:a16="http://schemas.microsoft.com/office/drawing/2014/main" id="{7ACDE58D-D053-4AF3-9A84-474269278395}"/>
                </a:ext>
              </a:extLst>
            </p:cNvPr>
            <p:cNvSpPr>
              <a:spLocks/>
            </p:cNvSpPr>
            <p:nvPr/>
          </p:nvSpPr>
          <p:spPr>
            <a:xfrm>
              <a:off x="596481" y="6408313"/>
              <a:ext cx="15347512" cy="828001"/>
            </a:xfrm>
            <a:prstGeom prst="rect">
              <a:avLst/>
            </a:prstGeom>
          </p:spPr>
          <p:txBody>
            <a:bodyPr lIns="0" tIns="13500" rIns="0" bIns="13500" anchor="ctr">
              <a:noAutofit/>
            </a:bodyPr>
            <a:lstStyle/>
            <a:p>
              <a:pPr defTabSz="685783">
                <a:spcAft>
                  <a:spcPts val="1125"/>
                </a:spcAft>
                <a:tabLst>
                  <a:tab pos="2088304" algn="l"/>
                </a:tabLst>
                <a:defRPr/>
              </a:pPr>
              <a:r>
                <a:rPr lang="en-GB" sz="1800">
                  <a:solidFill>
                    <a:prstClr val="black"/>
                  </a:solidFill>
                  <a:latin typeface="Franklin Gothic Book" panose="020B0503020102020204"/>
                </a:rPr>
                <a:t>Feel free to ask a question at any time, however all questions will be held until the end the of the presentation.</a:t>
              </a:r>
            </a:p>
          </p:txBody>
        </p:sp>
      </p:grpSp>
      <p:grpSp>
        <p:nvGrpSpPr>
          <p:cNvPr id="16" name="Group 15">
            <a:extLst>
              <a:ext uri="{FF2B5EF4-FFF2-40B4-BE49-F238E27FC236}">
                <a16:creationId xmlns:a16="http://schemas.microsoft.com/office/drawing/2014/main" id="{67318545-FB83-4C4A-BF86-55A940293317}"/>
              </a:ext>
            </a:extLst>
          </p:cNvPr>
          <p:cNvGrpSpPr>
            <a:grpSpLocks/>
          </p:cNvGrpSpPr>
          <p:nvPr/>
        </p:nvGrpSpPr>
        <p:grpSpPr>
          <a:xfrm>
            <a:off x="971551" y="2215949"/>
            <a:ext cx="7348361" cy="720000"/>
            <a:chOff x="395288" y="6318314"/>
            <a:chExt cx="15749901" cy="1008000"/>
          </a:xfrm>
        </p:grpSpPr>
        <p:sp>
          <p:nvSpPr>
            <p:cNvPr id="17" name="Rectangle: Rounded Corners 16">
              <a:extLst>
                <a:ext uri="{FF2B5EF4-FFF2-40B4-BE49-F238E27FC236}">
                  <a16:creationId xmlns:a16="http://schemas.microsoft.com/office/drawing/2014/main" id="{74D4A3A2-4CC3-4CE0-BCD1-93B258769DE2}"/>
                </a:ext>
              </a:extLst>
            </p:cNvPr>
            <p:cNvSpPr>
              <a:spLocks/>
            </p:cNvSpPr>
            <p:nvPr/>
          </p:nvSpPr>
          <p:spPr>
            <a:xfrm>
              <a:off x="395288" y="6318314"/>
              <a:ext cx="15749901" cy="1008000"/>
            </a:xfrm>
            <a:prstGeom prst="roundRect">
              <a:avLst>
                <a:gd name="adj" fmla="val 11108"/>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GB" sz="1800">
                <a:solidFill>
                  <a:prstClr val="black"/>
                </a:solidFill>
                <a:latin typeface="Franklin Gothic Book" panose="020B0503020102020204"/>
              </a:endParaRPr>
            </a:p>
          </p:txBody>
        </p:sp>
        <p:sp>
          <p:nvSpPr>
            <p:cNvPr id="18" name="Rectangle 17">
              <a:extLst>
                <a:ext uri="{FF2B5EF4-FFF2-40B4-BE49-F238E27FC236}">
                  <a16:creationId xmlns:a16="http://schemas.microsoft.com/office/drawing/2014/main" id="{44ECB822-9122-4C41-A74E-9F82C798F7A4}"/>
                </a:ext>
              </a:extLst>
            </p:cNvPr>
            <p:cNvSpPr>
              <a:spLocks/>
            </p:cNvSpPr>
            <p:nvPr/>
          </p:nvSpPr>
          <p:spPr>
            <a:xfrm>
              <a:off x="596481" y="6408313"/>
              <a:ext cx="15347512" cy="828001"/>
            </a:xfrm>
            <a:prstGeom prst="rect">
              <a:avLst/>
            </a:prstGeom>
          </p:spPr>
          <p:txBody>
            <a:bodyPr lIns="0" tIns="13500" rIns="0" bIns="13500" anchor="ctr">
              <a:noAutofit/>
            </a:bodyPr>
            <a:lstStyle/>
            <a:p>
              <a:pPr defTabSz="685783">
                <a:spcAft>
                  <a:spcPts val="1125"/>
                </a:spcAft>
                <a:tabLst>
                  <a:tab pos="2088304" algn="l"/>
                </a:tabLst>
                <a:defRPr/>
              </a:pPr>
              <a:r>
                <a:rPr lang="en-GB" sz="1800" b="1">
                  <a:solidFill>
                    <a:srgbClr val="4472C4"/>
                  </a:solidFill>
                  <a:latin typeface="Franklin Gothic Book" panose="020B0503020102020204"/>
                </a:rPr>
                <a:t>To ask a question</a:t>
              </a:r>
              <a:r>
                <a:rPr lang="en-GB" sz="1800">
                  <a:solidFill>
                    <a:prstClr val="black"/>
                  </a:solidFill>
                  <a:latin typeface="Franklin Gothic Book" panose="020B0503020102020204"/>
                </a:rPr>
                <a:t>, open the Q&amp;A window, type your question into the </a:t>
              </a:r>
              <a:br>
                <a:rPr lang="en-GB" sz="1800">
                  <a:solidFill>
                    <a:prstClr val="black"/>
                  </a:solidFill>
                  <a:latin typeface="Franklin Gothic Book" panose="020B0503020102020204"/>
                </a:rPr>
              </a:br>
              <a:r>
                <a:rPr lang="en-GB" sz="1800">
                  <a:solidFill>
                    <a:prstClr val="black"/>
                  </a:solidFill>
                  <a:latin typeface="Franklin Gothic Book" panose="020B0503020102020204"/>
                </a:rPr>
                <a:t>Q&amp;A box. </a:t>
              </a:r>
              <a:r>
                <a:rPr lang="en-GB" sz="1800" b="1">
                  <a:solidFill>
                    <a:srgbClr val="4472C4"/>
                  </a:solidFill>
                  <a:latin typeface="Franklin Gothic Book" panose="020B0503020102020204"/>
                </a:rPr>
                <a:t>Click Send</a:t>
              </a:r>
            </a:p>
          </p:txBody>
        </p:sp>
      </p:grpSp>
      <p:grpSp>
        <p:nvGrpSpPr>
          <p:cNvPr id="19" name="Group 18">
            <a:extLst>
              <a:ext uri="{FF2B5EF4-FFF2-40B4-BE49-F238E27FC236}">
                <a16:creationId xmlns:a16="http://schemas.microsoft.com/office/drawing/2014/main" id="{55F0C549-3585-4D16-B408-9F8B69CD1A04}"/>
              </a:ext>
            </a:extLst>
          </p:cNvPr>
          <p:cNvGrpSpPr>
            <a:grpSpLocks/>
          </p:cNvGrpSpPr>
          <p:nvPr/>
        </p:nvGrpSpPr>
        <p:grpSpPr>
          <a:xfrm>
            <a:off x="971551" y="3098746"/>
            <a:ext cx="7348361" cy="720000"/>
            <a:chOff x="395288" y="6318314"/>
            <a:chExt cx="15749901" cy="1008000"/>
          </a:xfrm>
        </p:grpSpPr>
        <p:sp>
          <p:nvSpPr>
            <p:cNvPr id="20" name="Rectangle: Rounded Corners 19">
              <a:extLst>
                <a:ext uri="{FF2B5EF4-FFF2-40B4-BE49-F238E27FC236}">
                  <a16:creationId xmlns:a16="http://schemas.microsoft.com/office/drawing/2014/main" id="{A3BF8ABD-6693-48DE-B0B0-29A3F4815509}"/>
                </a:ext>
              </a:extLst>
            </p:cNvPr>
            <p:cNvSpPr>
              <a:spLocks/>
            </p:cNvSpPr>
            <p:nvPr/>
          </p:nvSpPr>
          <p:spPr>
            <a:xfrm>
              <a:off x="395288" y="6318314"/>
              <a:ext cx="15749901" cy="1008000"/>
            </a:xfrm>
            <a:prstGeom prst="roundRect">
              <a:avLst>
                <a:gd name="adj" fmla="val 11108"/>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GB" sz="1800">
                <a:solidFill>
                  <a:prstClr val="black"/>
                </a:solidFill>
                <a:latin typeface="Franklin Gothic Book" panose="020B0503020102020204"/>
              </a:endParaRPr>
            </a:p>
          </p:txBody>
        </p:sp>
        <p:sp>
          <p:nvSpPr>
            <p:cNvPr id="21" name="Rectangle 20">
              <a:extLst>
                <a:ext uri="{FF2B5EF4-FFF2-40B4-BE49-F238E27FC236}">
                  <a16:creationId xmlns:a16="http://schemas.microsoft.com/office/drawing/2014/main" id="{6D04F53B-1A0F-4202-8274-305B1E5DBD41}"/>
                </a:ext>
              </a:extLst>
            </p:cNvPr>
            <p:cNvSpPr>
              <a:spLocks/>
            </p:cNvSpPr>
            <p:nvPr/>
          </p:nvSpPr>
          <p:spPr>
            <a:xfrm>
              <a:off x="596481" y="6408313"/>
              <a:ext cx="15347512" cy="828001"/>
            </a:xfrm>
            <a:prstGeom prst="rect">
              <a:avLst/>
            </a:prstGeom>
          </p:spPr>
          <p:txBody>
            <a:bodyPr lIns="0" tIns="13500" rIns="0" bIns="13500" anchor="ctr">
              <a:noAutofit/>
            </a:bodyPr>
            <a:lstStyle/>
            <a:p>
              <a:pPr defTabSz="685783">
                <a:spcAft>
                  <a:spcPts val="1125"/>
                </a:spcAft>
                <a:tabLst>
                  <a:tab pos="2088304" algn="l"/>
                </a:tabLst>
                <a:defRPr/>
              </a:pPr>
              <a:r>
                <a:rPr lang="en-GB" sz="1800" b="1">
                  <a:solidFill>
                    <a:srgbClr val="4472C4"/>
                  </a:solidFill>
                  <a:latin typeface="Franklin Gothic Book" panose="020B0503020102020204"/>
                </a:rPr>
                <a:t>Note: </a:t>
              </a:r>
              <a:r>
                <a:rPr lang="en-GB" sz="1800">
                  <a:solidFill>
                    <a:prstClr val="black"/>
                  </a:solidFill>
                  <a:latin typeface="Franklin Gothic Book" panose="020B0503020102020204"/>
                </a:rPr>
                <a:t>Check </a:t>
              </a:r>
              <a:r>
                <a:rPr lang="en-GB" sz="1800" b="1">
                  <a:solidFill>
                    <a:srgbClr val="4472C4"/>
                  </a:solidFill>
                  <a:latin typeface="Franklin Gothic Book" panose="020B0503020102020204"/>
                </a:rPr>
                <a:t>Send Anonymously </a:t>
              </a:r>
              <a:r>
                <a:rPr lang="en-GB" sz="1800">
                  <a:solidFill>
                    <a:prstClr val="black"/>
                  </a:solidFill>
                  <a:latin typeface="Franklin Gothic Book" panose="020B0503020102020204"/>
                </a:rPr>
                <a:t>if you do not want your name attached </a:t>
              </a:r>
              <a:br>
                <a:rPr lang="en-GB" sz="1800">
                  <a:solidFill>
                    <a:prstClr val="black"/>
                  </a:solidFill>
                  <a:latin typeface="Franklin Gothic Book" panose="020B0503020102020204"/>
                </a:rPr>
              </a:br>
              <a:r>
                <a:rPr lang="en-GB" sz="1800">
                  <a:solidFill>
                    <a:prstClr val="black"/>
                  </a:solidFill>
                  <a:latin typeface="Franklin Gothic Book" panose="020B0503020102020204"/>
                </a:rPr>
                <a:t>to your question in the Q&amp;A</a:t>
              </a:r>
            </a:p>
          </p:txBody>
        </p:sp>
      </p:grpSp>
      <p:grpSp>
        <p:nvGrpSpPr>
          <p:cNvPr id="22" name="Group 21">
            <a:extLst>
              <a:ext uri="{FF2B5EF4-FFF2-40B4-BE49-F238E27FC236}">
                <a16:creationId xmlns:a16="http://schemas.microsoft.com/office/drawing/2014/main" id="{06AEAA9D-1FC2-4907-B59F-1AAFBFB44AB9}"/>
              </a:ext>
            </a:extLst>
          </p:cNvPr>
          <p:cNvGrpSpPr>
            <a:grpSpLocks/>
          </p:cNvGrpSpPr>
          <p:nvPr/>
        </p:nvGrpSpPr>
        <p:grpSpPr>
          <a:xfrm>
            <a:off x="971551" y="3981543"/>
            <a:ext cx="7348361" cy="432000"/>
            <a:chOff x="395288" y="6318314"/>
            <a:chExt cx="15749901" cy="1008000"/>
          </a:xfrm>
        </p:grpSpPr>
        <p:sp>
          <p:nvSpPr>
            <p:cNvPr id="23" name="Rectangle: Rounded Corners 22">
              <a:extLst>
                <a:ext uri="{FF2B5EF4-FFF2-40B4-BE49-F238E27FC236}">
                  <a16:creationId xmlns:a16="http://schemas.microsoft.com/office/drawing/2014/main" id="{272B71CD-A552-450C-AF69-E10699086A30}"/>
                </a:ext>
              </a:extLst>
            </p:cNvPr>
            <p:cNvSpPr>
              <a:spLocks/>
            </p:cNvSpPr>
            <p:nvPr/>
          </p:nvSpPr>
          <p:spPr>
            <a:xfrm>
              <a:off x="395288" y="6318314"/>
              <a:ext cx="15749901" cy="1008000"/>
            </a:xfrm>
            <a:prstGeom prst="roundRect">
              <a:avLst>
                <a:gd name="adj" fmla="val 16620"/>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GB" sz="1800">
                <a:solidFill>
                  <a:prstClr val="black"/>
                </a:solidFill>
                <a:latin typeface="Franklin Gothic Book" panose="020B0503020102020204"/>
              </a:endParaRPr>
            </a:p>
          </p:txBody>
        </p:sp>
        <p:sp>
          <p:nvSpPr>
            <p:cNvPr id="24" name="Rectangle 23">
              <a:extLst>
                <a:ext uri="{FF2B5EF4-FFF2-40B4-BE49-F238E27FC236}">
                  <a16:creationId xmlns:a16="http://schemas.microsoft.com/office/drawing/2014/main" id="{D17A5F58-2D98-4A01-B36B-2207B1F5A0E6}"/>
                </a:ext>
              </a:extLst>
            </p:cNvPr>
            <p:cNvSpPr>
              <a:spLocks/>
            </p:cNvSpPr>
            <p:nvPr/>
          </p:nvSpPr>
          <p:spPr>
            <a:xfrm>
              <a:off x="596481" y="6408313"/>
              <a:ext cx="15347512" cy="828001"/>
            </a:xfrm>
            <a:prstGeom prst="rect">
              <a:avLst/>
            </a:prstGeom>
          </p:spPr>
          <p:txBody>
            <a:bodyPr lIns="0" tIns="13500" rIns="0" bIns="13500" anchor="ctr">
              <a:noAutofit/>
            </a:bodyPr>
            <a:lstStyle/>
            <a:p>
              <a:pPr defTabSz="685783">
                <a:spcAft>
                  <a:spcPts val="1125"/>
                </a:spcAft>
                <a:tabLst>
                  <a:tab pos="2088304" algn="l"/>
                </a:tabLst>
                <a:defRPr/>
              </a:pPr>
              <a:r>
                <a:rPr lang="en-GB" sz="1800">
                  <a:solidFill>
                    <a:prstClr val="black"/>
                  </a:solidFill>
                  <a:latin typeface="Franklin Gothic Book" panose="020B0503020102020204"/>
                </a:rPr>
                <a:t>We will make every effort to respond to all questions live (out loud)</a:t>
              </a:r>
            </a:p>
          </p:txBody>
        </p:sp>
      </p:grpSp>
    </p:spTree>
    <p:extLst>
      <p:ext uri="{BB962C8B-B14F-4D97-AF65-F5344CB8AC3E}">
        <p14:creationId xmlns:p14="http://schemas.microsoft.com/office/powerpoint/2010/main" val="3481307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87134F-F5D1-4656-8CC1-0FD5B197DD29}"/>
              </a:ext>
            </a:extLst>
          </p:cNvPr>
          <p:cNvSpPr>
            <a:spLocks noGrp="1"/>
          </p:cNvSpPr>
          <p:nvPr>
            <p:ph type="title"/>
          </p:nvPr>
        </p:nvSpPr>
        <p:spPr/>
        <p:txBody>
          <a:bodyPr>
            <a:normAutofit/>
          </a:bodyPr>
          <a:lstStyle/>
          <a:p>
            <a:r>
              <a:rPr lang="en-US" sz="3000"/>
              <a:t>Disclaimer</a:t>
            </a:r>
          </a:p>
        </p:txBody>
      </p:sp>
      <p:sp>
        <p:nvSpPr>
          <p:cNvPr id="4" name="Content Placeholder 3">
            <a:extLst>
              <a:ext uri="{FF2B5EF4-FFF2-40B4-BE49-F238E27FC236}">
                <a16:creationId xmlns:a16="http://schemas.microsoft.com/office/drawing/2014/main" id="{79C78045-050D-4096-BEE3-B6607DCF8DE0}"/>
              </a:ext>
            </a:extLst>
          </p:cNvPr>
          <p:cNvSpPr>
            <a:spLocks noGrp="1"/>
          </p:cNvSpPr>
          <p:nvPr>
            <p:ph idx="1"/>
          </p:nvPr>
        </p:nvSpPr>
        <p:spPr/>
        <p:txBody>
          <a:bodyPr/>
          <a:lstStyle/>
          <a:p>
            <a:r>
              <a:rPr lang="en-US"/>
              <a:t>Information presented reflects the personal knowledge and opinions of the faculty and does not necessarily represent the position of their current or past employers</a:t>
            </a:r>
          </a:p>
          <a:p>
            <a:endParaRPr lang="en-US"/>
          </a:p>
        </p:txBody>
      </p:sp>
      <p:sp>
        <p:nvSpPr>
          <p:cNvPr id="3" name="Slide Number Placeholder 2">
            <a:extLst>
              <a:ext uri="{FF2B5EF4-FFF2-40B4-BE49-F238E27FC236}">
                <a16:creationId xmlns:a16="http://schemas.microsoft.com/office/drawing/2014/main" id="{7B8DA75C-44EC-42C6-9220-762929D91FA8}"/>
              </a:ext>
            </a:extLst>
          </p:cNvPr>
          <p:cNvSpPr>
            <a:spLocks noGrp="1"/>
          </p:cNvSpPr>
          <p:nvPr>
            <p:ph type="sldNum" sz="quarter" idx="10"/>
          </p:nvPr>
        </p:nvSpPr>
        <p:spPr/>
        <p:txBody>
          <a:bodyPr/>
          <a:lstStyle/>
          <a:p>
            <a:pPr defTabSz="685783">
              <a:defRPr/>
            </a:pPr>
            <a:fld id="{42AD0A0E-4515-A647-B2E3-7F1B29FB990E}" type="slidenum">
              <a:rPr lang="en-US">
                <a:solidFill>
                  <a:prstClr val="black"/>
                </a:solidFill>
                <a:latin typeface="Franklin Gothic Book"/>
              </a:rPr>
              <a:pPr defTabSz="685783">
                <a:defRPr/>
              </a:pPr>
              <a:t>6</a:t>
            </a:fld>
            <a:endParaRPr lang="en-US">
              <a:solidFill>
                <a:prstClr val="black"/>
              </a:solidFill>
              <a:latin typeface="Franklin Gothic Book"/>
            </a:endParaRPr>
          </a:p>
        </p:txBody>
      </p:sp>
    </p:spTree>
    <p:extLst>
      <p:ext uri="{BB962C8B-B14F-4D97-AF65-F5344CB8AC3E}">
        <p14:creationId xmlns:p14="http://schemas.microsoft.com/office/powerpoint/2010/main" val="10341876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99522-3478-92E0-4FF7-6F146F1DBE10}"/>
              </a:ext>
            </a:extLst>
          </p:cNvPr>
          <p:cNvSpPr>
            <a:spLocks noGrp="1"/>
          </p:cNvSpPr>
          <p:nvPr>
            <p:ph type="title"/>
          </p:nvPr>
        </p:nvSpPr>
        <p:spPr/>
        <p:txBody>
          <a:bodyPr/>
          <a:lstStyle/>
          <a:p>
            <a:r>
              <a:rPr lang="en-US"/>
              <a:t>Learning Objectives </a:t>
            </a:r>
          </a:p>
        </p:txBody>
      </p:sp>
      <p:sp>
        <p:nvSpPr>
          <p:cNvPr id="3" name="Content Placeholder 2">
            <a:extLst>
              <a:ext uri="{FF2B5EF4-FFF2-40B4-BE49-F238E27FC236}">
                <a16:creationId xmlns:a16="http://schemas.microsoft.com/office/drawing/2014/main" id="{A42369A9-B740-5B1B-7EA1-693AE9CA4960}"/>
              </a:ext>
            </a:extLst>
          </p:cNvPr>
          <p:cNvSpPr>
            <a:spLocks noGrp="1"/>
          </p:cNvSpPr>
          <p:nvPr>
            <p:ph sz="half" idx="1"/>
          </p:nvPr>
        </p:nvSpPr>
        <p:spPr>
          <a:xfrm>
            <a:off x="589280" y="1286933"/>
            <a:ext cx="7723304" cy="3470347"/>
          </a:xfrm>
        </p:spPr>
        <p:txBody>
          <a:bodyPr vert="horz" lIns="91440" tIns="45720" rIns="91440" bIns="45720" rtlCol="0" anchor="t">
            <a:normAutofit/>
          </a:bodyPr>
          <a:lstStyle/>
          <a:p>
            <a:r>
              <a:rPr lang="en-US"/>
              <a:t>By the end of this session, attendees will:</a:t>
            </a:r>
          </a:p>
          <a:p>
            <a:pPr lvl="1">
              <a:buFont typeface="Arial" charset="-120"/>
              <a:buChar char="•"/>
            </a:pPr>
            <a:r>
              <a:rPr lang="en-US"/>
              <a:t>Understand the current challenges faced by organizations in talent acquisition and post-hire enrichment within the context of the fiercely competitive medical publications talent market</a:t>
            </a:r>
          </a:p>
          <a:p>
            <a:pPr lvl="1">
              <a:buFont typeface="Arial" charset="-120"/>
              <a:buChar char="•"/>
            </a:pPr>
            <a:r>
              <a:rPr lang="en-US"/>
              <a:t>Explore strategies for cultivating a compelling employer brand and creating pathways for career advancement to enhance employee commitment and reduce turnover rates in an increasingly competitive job market</a:t>
            </a:r>
          </a:p>
          <a:p>
            <a:pPr lvl="1">
              <a:buFont typeface="Arial" charset="-120"/>
              <a:buChar char="•"/>
            </a:pPr>
            <a:r>
              <a:rPr lang="en-US"/>
              <a:t>Identify actionable insights and best practices from industry experts to fortify talent acquisition strategies, mitigate job mobility, and nurture long-term employee success</a:t>
            </a:r>
          </a:p>
        </p:txBody>
      </p:sp>
      <p:sp>
        <p:nvSpPr>
          <p:cNvPr id="4" name="Slide Number Placeholder 3">
            <a:extLst>
              <a:ext uri="{FF2B5EF4-FFF2-40B4-BE49-F238E27FC236}">
                <a16:creationId xmlns:a16="http://schemas.microsoft.com/office/drawing/2014/main" id="{B4D2E7A0-7F1A-027B-F8D5-5780FFCCA731}"/>
              </a:ext>
            </a:extLst>
          </p:cNvPr>
          <p:cNvSpPr>
            <a:spLocks noGrp="1"/>
          </p:cNvSpPr>
          <p:nvPr>
            <p:ph type="sldNum" sz="quarter" idx="10"/>
          </p:nvPr>
        </p:nvSpPr>
        <p:spPr/>
        <p:txBody>
          <a:bodyPr/>
          <a:lstStyle/>
          <a:p>
            <a:fld id="{42AD0A0E-4515-A647-B2E3-7F1B29FB990E}" type="slidenum">
              <a:rPr lang="en-US" smtClean="0"/>
              <a:pPr/>
              <a:t>7</a:t>
            </a:fld>
            <a:endParaRPr lang="en-US"/>
          </a:p>
        </p:txBody>
      </p:sp>
    </p:spTree>
    <p:extLst>
      <p:ext uri="{BB962C8B-B14F-4D97-AF65-F5344CB8AC3E}">
        <p14:creationId xmlns:p14="http://schemas.microsoft.com/office/powerpoint/2010/main" val="15346563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99522-3478-92E0-4FF7-6F146F1DBE10}"/>
              </a:ext>
            </a:extLst>
          </p:cNvPr>
          <p:cNvSpPr>
            <a:spLocks noGrp="1"/>
          </p:cNvSpPr>
          <p:nvPr>
            <p:ph type="title"/>
          </p:nvPr>
        </p:nvSpPr>
        <p:spPr/>
        <p:txBody>
          <a:bodyPr/>
          <a:lstStyle/>
          <a:p>
            <a:r>
              <a:rPr lang="en-US"/>
              <a:t>Agenda</a:t>
            </a:r>
          </a:p>
        </p:txBody>
      </p:sp>
      <p:sp>
        <p:nvSpPr>
          <p:cNvPr id="5" name="Content Placeholder 4">
            <a:extLst>
              <a:ext uri="{FF2B5EF4-FFF2-40B4-BE49-F238E27FC236}">
                <a16:creationId xmlns:a16="http://schemas.microsoft.com/office/drawing/2014/main" id="{B94AA351-EC28-B5E2-566F-F0BFADAE5485}"/>
              </a:ext>
            </a:extLst>
          </p:cNvPr>
          <p:cNvSpPr>
            <a:spLocks noGrp="1"/>
          </p:cNvSpPr>
          <p:nvPr>
            <p:ph sz="half" idx="2"/>
          </p:nvPr>
        </p:nvSpPr>
        <p:spPr>
          <a:xfrm>
            <a:off x="795703" y="1166995"/>
            <a:ext cx="6565671" cy="3588861"/>
          </a:xfrm>
        </p:spPr>
        <p:txBody>
          <a:bodyPr vert="horz" lIns="91440" tIns="45720" rIns="91440" bIns="45720" rtlCol="0" anchor="t">
            <a:normAutofit/>
          </a:bodyPr>
          <a:lstStyle/>
          <a:p>
            <a:pPr lvl="1">
              <a:buFont typeface="Arial" charset="-120"/>
              <a:buChar char="•"/>
            </a:pPr>
            <a:r>
              <a:rPr lang="en-US" sz="2300"/>
              <a:t>Understanding Current Challenges</a:t>
            </a:r>
            <a:endParaRPr lang="en-US"/>
          </a:p>
          <a:p>
            <a:pPr lvl="1">
              <a:buFont typeface="Arial" charset="-120"/>
              <a:buChar char="•"/>
            </a:pPr>
            <a:r>
              <a:rPr lang="en-US" sz="2300"/>
              <a:t>Cultivating a Compelling Employer Brand</a:t>
            </a:r>
          </a:p>
          <a:p>
            <a:pPr lvl="1">
              <a:buFont typeface="Arial" charset="-120"/>
              <a:buChar char="•"/>
            </a:pPr>
            <a:r>
              <a:rPr lang="en-US" sz="2300"/>
              <a:t>Creating Pathways for Career Advancement</a:t>
            </a:r>
          </a:p>
          <a:p>
            <a:pPr lvl="1">
              <a:buFont typeface="Arial" charset="-120"/>
              <a:buChar char="•"/>
            </a:pPr>
            <a:r>
              <a:rPr lang="en-US" sz="2300"/>
              <a:t>Panel Discussion</a:t>
            </a:r>
          </a:p>
          <a:p>
            <a:pPr lvl="1">
              <a:buFont typeface="Arial" charset="-120"/>
              <a:buChar char="•"/>
            </a:pPr>
            <a:r>
              <a:rPr lang="en-US" sz="2300"/>
              <a:t>Q&amp;A</a:t>
            </a:r>
          </a:p>
          <a:p>
            <a:endParaRPr lang="en-US"/>
          </a:p>
        </p:txBody>
      </p:sp>
      <p:sp>
        <p:nvSpPr>
          <p:cNvPr id="4" name="Slide Number Placeholder 3">
            <a:extLst>
              <a:ext uri="{FF2B5EF4-FFF2-40B4-BE49-F238E27FC236}">
                <a16:creationId xmlns:a16="http://schemas.microsoft.com/office/drawing/2014/main" id="{B4D2E7A0-7F1A-027B-F8D5-5780FFCCA731}"/>
              </a:ext>
            </a:extLst>
          </p:cNvPr>
          <p:cNvSpPr>
            <a:spLocks noGrp="1"/>
          </p:cNvSpPr>
          <p:nvPr>
            <p:ph type="sldNum" sz="quarter" idx="10"/>
          </p:nvPr>
        </p:nvSpPr>
        <p:spPr/>
        <p:txBody>
          <a:bodyPr/>
          <a:lstStyle/>
          <a:p>
            <a:fld id="{42AD0A0E-4515-A647-B2E3-7F1B29FB990E}" type="slidenum">
              <a:rPr lang="en-US" smtClean="0"/>
              <a:pPr/>
              <a:t>8</a:t>
            </a:fld>
            <a:endParaRPr lang="en-US"/>
          </a:p>
        </p:txBody>
      </p:sp>
    </p:spTree>
    <p:extLst>
      <p:ext uri="{BB962C8B-B14F-4D97-AF65-F5344CB8AC3E}">
        <p14:creationId xmlns:p14="http://schemas.microsoft.com/office/powerpoint/2010/main" val="3897171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03D211F-DE1E-4F85-BC80-BB785E1226F5}"/>
              </a:ext>
            </a:extLst>
          </p:cNvPr>
          <p:cNvSpPr>
            <a:spLocks noGrp="1"/>
          </p:cNvSpPr>
          <p:nvPr>
            <p:ph type="title"/>
          </p:nvPr>
        </p:nvSpPr>
        <p:spPr/>
        <p:txBody>
          <a:bodyPr>
            <a:normAutofit/>
          </a:bodyPr>
          <a:lstStyle/>
          <a:p>
            <a:r>
              <a:rPr lang="en-US"/>
              <a:t>Faculty</a:t>
            </a:r>
          </a:p>
        </p:txBody>
      </p:sp>
      <p:sp>
        <p:nvSpPr>
          <p:cNvPr id="2" name="Content Placeholder 1">
            <a:extLst>
              <a:ext uri="{FF2B5EF4-FFF2-40B4-BE49-F238E27FC236}">
                <a16:creationId xmlns:a16="http://schemas.microsoft.com/office/drawing/2014/main" id="{BBF5474C-2775-D71E-2F9F-E5B5CE007191}"/>
              </a:ext>
            </a:extLst>
          </p:cNvPr>
          <p:cNvSpPr>
            <a:spLocks noGrp="1"/>
          </p:cNvSpPr>
          <p:nvPr>
            <p:ph idx="1"/>
          </p:nvPr>
        </p:nvSpPr>
        <p:spPr>
          <a:xfrm>
            <a:off x="5235942" y="1698359"/>
            <a:ext cx="3158550" cy="1887949"/>
          </a:xfrm>
        </p:spPr>
        <p:txBody>
          <a:bodyPr>
            <a:normAutofit/>
          </a:bodyPr>
          <a:lstStyle/>
          <a:p>
            <a:pPr marL="0" indent="0" algn="ctr">
              <a:buNone/>
            </a:pPr>
            <a:r>
              <a:rPr lang="en-US" sz="1600" i="0">
                <a:solidFill>
                  <a:srgbClr val="505050"/>
                </a:solidFill>
                <a:effectLst/>
                <a:highlight>
                  <a:srgbClr val="FFFFFF"/>
                </a:highlight>
                <a:latin typeface="Open Sans" panose="020B0606030504020204" pitchFamily="34" charset="0"/>
              </a:rPr>
              <a:t>Rachel Sopko Bibb, MBA, ISMPP CMPP™</a:t>
            </a:r>
          </a:p>
          <a:p>
            <a:pPr marL="0" indent="0" algn="ctr">
              <a:buNone/>
            </a:pPr>
            <a:r>
              <a:rPr lang="en-US" sz="1200" b="1" i="0">
                <a:solidFill>
                  <a:schemeClr val="tx1">
                    <a:lumMod val="75000"/>
                    <a:lumOff val="25000"/>
                  </a:schemeClr>
                </a:solidFill>
                <a:effectLst/>
                <a:highlight>
                  <a:srgbClr val="FFFFFF"/>
                </a:highlight>
                <a:latin typeface="Open Sans" panose="020B0606030504020204" pitchFamily="34" charset="0"/>
                <a:ea typeface="Open Sans" panose="020B0606030504020204" pitchFamily="34" charset="0"/>
                <a:cs typeface="Open Sans" panose="020B0606030504020204" pitchFamily="34" charset="0"/>
              </a:rPr>
              <a:t>Associate Director Scientific Communications Operations, Alnylam</a:t>
            </a:r>
            <a:endParaRPr lang="en-US" sz="1600">
              <a:solidFill>
                <a:schemeClr val="tx1">
                  <a:lumMod val="75000"/>
                  <a:lumOff val="25000"/>
                </a:schemeClr>
              </a:solidFill>
            </a:endParaRPr>
          </a:p>
        </p:txBody>
      </p:sp>
      <p:sp>
        <p:nvSpPr>
          <p:cNvPr id="4" name="Slide Number Placeholder 3">
            <a:extLst>
              <a:ext uri="{FF2B5EF4-FFF2-40B4-BE49-F238E27FC236}">
                <a16:creationId xmlns:a16="http://schemas.microsoft.com/office/drawing/2014/main" id="{3B017E17-AA8D-408F-8154-2BB5A2377149}"/>
              </a:ext>
            </a:extLst>
          </p:cNvPr>
          <p:cNvSpPr>
            <a:spLocks noGrp="1"/>
          </p:cNvSpPr>
          <p:nvPr>
            <p:ph type="sldNum" sz="quarter" idx="10"/>
          </p:nvPr>
        </p:nvSpPr>
        <p:spPr/>
        <p:txBody>
          <a:bodyPr/>
          <a:lstStyle/>
          <a:p>
            <a:fld id="{42AD0A0E-4515-A647-B2E3-7F1B29FB990E}" type="slidenum">
              <a:rPr lang="en-US" smtClean="0"/>
              <a:pPr/>
              <a:t>9</a:t>
            </a:fld>
            <a:endParaRPr lang="en-US"/>
          </a:p>
        </p:txBody>
      </p:sp>
      <p:pic>
        <p:nvPicPr>
          <p:cNvPr id="8" name="Picture 7" descr="A person smiling at the camera&#10;&#10;Description automatically generated">
            <a:extLst>
              <a:ext uri="{FF2B5EF4-FFF2-40B4-BE49-F238E27FC236}">
                <a16:creationId xmlns:a16="http://schemas.microsoft.com/office/drawing/2014/main" id="{1963F67A-6F4F-AB6E-FC6E-7113E8C4D9BF}"/>
              </a:ext>
            </a:extLst>
          </p:cNvPr>
          <p:cNvPicPr>
            <a:picLocks noChangeAspect="1"/>
          </p:cNvPicPr>
          <p:nvPr/>
        </p:nvPicPr>
        <p:blipFill rotWithShape="1">
          <a:blip r:embed="rId3"/>
          <a:srcRect l="7515" r="11561"/>
          <a:stretch/>
        </p:blipFill>
        <p:spPr>
          <a:xfrm>
            <a:off x="6391655" y="2743460"/>
            <a:ext cx="969819" cy="1108363"/>
          </a:xfrm>
          <a:prstGeom prst="ellipse">
            <a:avLst/>
          </a:prstGeom>
          <a:ln w="127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9" name="Content Placeholder 1">
            <a:extLst>
              <a:ext uri="{FF2B5EF4-FFF2-40B4-BE49-F238E27FC236}">
                <a16:creationId xmlns:a16="http://schemas.microsoft.com/office/drawing/2014/main" id="{FD085256-064F-47CC-D185-290A72EFF450}"/>
              </a:ext>
            </a:extLst>
          </p:cNvPr>
          <p:cNvSpPr txBox="1">
            <a:spLocks/>
          </p:cNvSpPr>
          <p:nvPr/>
        </p:nvSpPr>
        <p:spPr>
          <a:xfrm>
            <a:off x="923453" y="1696615"/>
            <a:ext cx="2141994" cy="1887949"/>
          </a:xfrm>
          <a:prstGeom prst="rect">
            <a:avLst/>
          </a:prstGeom>
        </p:spPr>
        <p:txBody>
          <a:bodyPr vert="horz" lIns="91440" tIns="45720" rIns="91440" bIns="45720" rtlCol="0">
            <a:normAutofit/>
          </a:bodyPr>
          <a:lst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400" kern="1200">
                <a:solidFill>
                  <a:schemeClr val="tx1"/>
                </a:solidFill>
                <a:latin typeface="+mn-lt"/>
                <a:ea typeface="+mn-ea"/>
                <a:cs typeface="+mn-cs"/>
              </a:defRPr>
            </a:lvl1pPr>
            <a:lvl2pPr marL="584200" indent="-228600" algn="l" defTabSz="685800" rtl="0" eaLnBrk="1" latinLnBrk="0" hangingPunct="1">
              <a:lnSpc>
                <a:spcPct val="90000"/>
              </a:lnSpc>
              <a:spcBef>
                <a:spcPts val="375"/>
              </a:spcBef>
              <a:buClr>
                <a:srgbClr val="F28C11"/>
              </a:buClr>
              <a:buFont typeface=".AppleSystemUIFont" charset="-120"/>
              <a:buChar char="–"/>
              <a:tabLst/>
              <a:defRPr sz="2200" kern="1200">
                <a:solidFill>
                  <a:schemeClr val="tx1"/>
                </a:solidFill>
                <a:latin typeface="+mn-lt"/>
                <a:ea typeface="+mn-ea"/>
                <a:cs typeface="+mn-cs"/>
              </a:defRPr>
            </a:lvl2pPr>
            <a:lvl3pPr marL="927100" indent="-228600" algn="l" defTabSz="685800" rtl="0" eaLnBrk="1" latinLnBrk="0" hangingPunct="1">
              <a:lnSpc>
                <a:spcPct val="90000"/>
              </a:lnSpc>
              <a:spcBef>
                <a:spcPts val="375"/>
              </a:spcBef>
              <a:buClr>
                <a:srgbClr val="F28C11"/>
              </a:buClr>
              <a:buFont typeface="Wingdings" charset="2"/>
              <a:buChar char="§"/>
              <a:tabLst/>
              <a:defRPr sz="2000" kern="1200">
                <a:solidFill>
                  <a:schemeClr val="tx1"/>
                </a:solidFill>
                <a:latin typeface="+mn-lt"/>
                <a:ea typeface="+mn-ea"/>
                <a:cs typeface="+mn-cs"/>
              </a:defRPr>
            </a:lvl3pPr>
            <a:lvl4pPr marL="1155700" indent="-157163" algn="l" defTabSz="685800" rtl="0" eaLnBrk="1" latinLnBrk="0" hangingPunct="1">
              <a:lnSpc>
                <a:spcPct val="90000"/>
              </a:lnSpc>
              <a:spcBef>
                <a:spcPts val="375"/>
              </a:spcBef>
              <a:buClr>
                <a:srgbClr val="F28C11"/>
              </a:buClr>
              <a:buFont typeface="Arial" panose="020B0604020202020204" pitchFamily="34" charset="0"/>
              <a:buChar char="•"/>
              <a:tabLst/>
              <a:defRPr sz="1800" kern="1200">
                <a:solidFill>
                  <a:schemeClr val="tx1"/>
                </a:solidFill>
                <a:latin typeface="+mn-lt"/>
                <a:ea typeface="+mn-ea"/>
                <a:cs typeface="+mn-cs"/>
              </a:defRPr>
            </a:lvl4pPr>
            <a:lvl5pPr marL="1497013" indent="-200025" algn="l" defTabSz="685800" rtl="0" eaLnBrk="1" latinLnBrk="0" hangingPunct="1">
              <a:lnSpc>
                <a:spcPct val="90000"/>
              </a:lnSpc>
              <a:spcBef>
                <a:spcPts val="375"/>
              </a:spcBef>
              <a:buClr>
                <a:srgbClr val="F28C11"/>
              </a:buClr>
              <a:buFont typeface="Courier New" charset="0"/>
              <a:buChar char="o"/>
              <a:tabLst/>
              <a:defRPr sz="1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Font typeface="Arial" panose="020B0604020202020204" pitchFamily="34" charset="0"/>
              <a:buNone/>
            </a:pPr>
            <a:r>
              <a:rPr lang="en-US" sz="1600">
                <a:solidFill>
                  <a:srgbClr val="505050"/>
                </a:solidFill>
                <a:highlight>
                  <a:srgbClr val="FFFFFF"/>
                </a:highlight>
                <a:latin typeface="Open Sans" panose="020B0606030504020204" pitchFamily="34" charset="0"/>
              </a:rPr>
              <a:t>Whitney Morris</a:t>
            </a:r>
          </a:p>
          <a:p>
            <a:pPr marL="0" indent="0" algn="ctr">
              <a:buFont typeface="Arial" panose="020B0604020202020204" pitchFamily="34" charset="0"/>
              <a:buNone/>
            </a:pPr>
            <a:r>
              <a:rPr lang="en-US" sz="1200" b="1" i="0">
                <a:solidFill>
                  <a:srgbClr val="505050"/>
                </a:solidFill>
                <a:effectLst/>
                <a:highlight>
                  <a:srgbClr val="FFFFFF"/>
                </a:highlight>
                <a:latin typeface="Open Sans" panose="020B0606030504020204" pitchFamily="34" charset="0"/>
              </a:rPr>
              <a:t>Practice Lead, Medical Affairs Recruiting, LLC</a:t>
            </a:r>
            <a:endParaRPr lang="en-US" sz="1600"/>
          </a:p>
        </p:txBody>
      </p:sp>
      <p:sp>
        <p:nvSpPr>
          <p:cNvPr id="10" name="Content Placeholder 1">
            <a:extLst>
              <a:ext uri="{FF2B5EF4-FFF2-40B4-BE49-F238E27FC236}">
                <a16:creationId xmlns:a16="http://schemas.microsoft.com/office/drawing/2014/main" id="{2C9A9442-A95F-B403-F697-3584133B533E}"/>
              </a:ext>
            </a:extLst>
          </p:cNvPr>
          <p:cNvSpPr txBox="1">
            <a:spLocks/>
          </p:cNvSpPr>
          <p:nvPr/>
        </p:nvSpPr>
        <p:spPr>
          <a:xfrm>
            <a:off x="3252309" y="1698358"/>
            <a:ext cx="2193150" cy="1887949"/>
          </a:xfrm>
          <a:prstGeom prst="rect">
            <a:avLst/>
          </a:prstGeom>
        </p:spPr>
        <p:txBody>
          <a:bodyPr vert="horz" lIns="91440" tIns="45720" rIns="91440" bIns="45720" rtlCol="0">
            <a:normAutofit/>
          </a:bodyPr>
          <a:lst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400" kern="1200">
                <a:solidFill>
                  <a:schemeClr val="tx1"/>
                </a:solidFill>
                <a:latin typeface="+mn-lt"/>
                <a:ea typeface="+mn-ea"/>
                <a:cs typeface="+mn-cs"/>
              </a:defRPr>
            </a:lvl1pPr>
            <a:lvl2pPr marL="584200" indent="-228600" algn="l" defTabSz="685800" rtl="0" eaLnBrk="1" latinLnBrk="0" hangingPunct="1">
              <a:lnSpc>
                <a:spcPct val="90000"/>
              </a:lnSpc>
              <a:spcBef>
                <a:spcPts val="375"/>
              </a:spcBef>
              <a:buClr>
                <a:srgbClr val="F28C11"/>
              </a:buClr>
              <a:buFont typeface=".AppleSystemUIFont" charset="-120"/>
              <a:buChar char="–"/>
              <a:tabLst/>
              <a:defRPr sz="2200" kern="1200">
                <a:solidFill>
                  <a:schemeClr val="tx1"/>
                </a:solidFill>
                <a:latin typeface="+mn-lt"/>
                <a:ea typeface="+mn-ea"/>
                <a:cs typeface="+mn-cs"/>
              </a:defRPr>
            </a:lvl2pPr>
            <a:lvl3pPr marL="927100" indent="-228600" algn="l" defTabSz="685800" rtl="0" eaLnBrk="1" latinLnBrk="0" hangingPunct="1">
              <a:lnSpc>
                <a:spcPct val="90000"/>
              </a:lnSpc>
              <a:spcBef>
                <a:spcPts val="375"/>
              </a:spcBef>
              <a:buClr>
                <a:srgbClr val="F28C11"/>
              </a:buClr>
              <a:buFont typeface="Wingdings" charset="2"/>
              <a:buChar char="§"/>
              <a:tabLst/>
              <a:defRPr sz="2000" kern="1200">
                <a:solidFill>
                  <a:schemeClr val="tx1"/>
                </a:solidFill>
                <a:latin typeface="+mn-lt"/>
                <a:ea typeface="+mn-ea"/>
                <a:cs typeface="+mn-cs"/>
              </a:defRPr>
            </a:lvl3pPr>
            <a:lvl4pPr marL="1155700" indent="-157163" algn="l" defTabSz="685800" rtl="0" eaLnBrk="1" latinLnBrk="0" hangingPunct="1">
              <a:lnSpc>
                <a:spcPct val="90000"/>
              </a:lnSpc>
              <a:spcBef>
                <a:spcPts val="375"/>
              </a:spcBef>
              <a:buClr>
                <a:srgbClr val="F28C11"/>
              </a:buClr>
              <a:buFont typeface="Arial" panose="020B0604020202020204" pitchFamily="34" charset="0"/>
              <a:buChar char="•"/>
              <a:tabLst/>
              <a:defRPr sz="1800" kern="1200">
                <a:solidFill>
                  <a:schemeClr val="tx1"/>
                </a:solidFill>
                <a:latin typeface="+mn-lt"/>
                <a:ea typeface="+mn-ea"/>
                <a:cs typeface="+mn-cs"/>
              </a:defRPr>
            </a:lvl4pPr>
            <a:lvl5pPr marL="1497013" indent="-200025" algn="l" defTabSz="685800" rtl="0" eaLnBrk="1" latinLnBrk="0" hangingPunct="1">
              <a:lnSpc>
                <a:spcPct val="90000"/>
              </a:lnSpc>
              <a:spcBef>
                <a:spcPts val="375"/>
              </a:spcBef>
              <a:buClr>
                <a:srgbClr val="F28C11"/>
              </a:buClr>
              <a:buFont typeface="Courier New" charset="0"/>
              <a:buChar char="o"/>
              <a:tabLst/>
              <a:defRPr sz="1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Font typeface="Arial" panose="020B0604020202020204" pitchFamily="34" charset="0"/>
              <a:buNone/>
            </a:pPr>
            <a:r>
              <a:rPr lang="en-US" sz="1600">
                <a:solidFill>
                  <a:srgbClr val="505050"/>
                </a:solidFill>
                <a:highlight>
                  <a:srgbClr val="FFFFFF"/>
                </a:highlight>
                <a:latin typeface="Open Sans" panose="020B0606030504020204" pitchFamily="34" charset="0"/>
              </a:rPr>
              <a:t>Rachel Kennedy, PhD</a:t>
            </a:r>
          </a:p>
          <a:p>
            <a:pPr marL="0" indent="0" algn="ctr">
              <a:buFont typeface="Arial" panose="020B0604020202020204" pitchFamily="34" charset="0"/>
              <a:buNone/>
            </a:pPr>
            <a:r>
              <a:rPr lang="en-US" sz="1200" b="1" i="0">
                <a:solidFill>
                  <a:srgbClr val="505050"/>
                </a:solidFill>
                <a:effectLst/>
                <a:highlight>
                  <a:srgbClr val="FFFFFF"/>
                </a:highlight>
                <a:latin typeface="Open Sans" panose="020B0606030504020204" pitchFamily="34" charset="0"/>
              </a:rPr>
              <a:t>Head of Scientific Communications, Moderna</a:t>
            </a:r>
            <a:endParaRPr lang="en-US" sz="1600"/>
          </a:p>
        </p:txBody>
      </p:sp>
      <p:pic>
        <p:nvPicPr>
          <p:cNvPr id="1026" name="Picture 2" descr="Profile photo of Rachel Kennedy, PhD">
            <a:extLst>
              <a:ext uri="{FF2B5EF4-FFF2-40B4-BE49-F238E27FC236}">
                <a16:creationId xmlns:a16="http://schemas.microsoft.com/office/drawing/2014/main" id="{79D602F8-1A66-4BC5-6688-02F79452C6B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6533" t="3194" r="19114" b="22517"/>
          <a:stretch/>
        </p:blipFill>
        <p:spPr bwMode="auto">
          <a:xfrm>
            <a:off x="3863975" y="2743459"/>
            <a:ext cx="969818" cy="1108364"/>
          </a:xfrm>
          <a:prstGeom prst="ellipse">
            <a:avLst/>
          </a:prstGeom>
          <a:ln w="127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1028" name="Picture 4" descr="Profile photo of Whitney Morris">
            <a:extLst>
              <a:ext uri="{FF2B5EF4-FFF2-40B4-BE49-F238E27FC236}">
                <a16:creationId xmlns:a16="http://schemas.microsoft.com/office/drawing/2014/main" id="{C0457D8F-A2E1-66AA-BD8B-08A859F77E4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2388" t="2274" r="12225" b="24875"/>
          <a:stretch/>
        </p:blipFill>
        <p:spPr bwMode="auto">
          <a:xfrm>
            <a:off x="1509541" y="2725915"/>
            <a:ext cx="969818" cy="1108363"/>
          </a:xfrm>
          <a:prstGeom prst="ellipse">
            <a:avLst/>
          </a:prstGeom>
          <a:ln w="127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95981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PR3Z3N" val="d49e84cc-c4b6-4c6e-8372-1850da7259c7"/>
</p:tagLst>
</file>

<file path=ppt/tags/tag11.xml><?xml version="1.0" encoding="utf-8"?>
<p:tagLst xmlns:a="http://schemas.openxmlformats.org/drawingml/2006/main" xmlns:r="http://schemas.openxmlformats.org/officeDocument/2006/relationships" xmlns:p="http://schemas.openxmlformats.org/presentationml/2006/main">
  <p:tag name="PR3Z3N" val="f4f4bbf7-ae62-4b57-982b-844025c9cdcf"/>
</p:tagLst>
</file>

<file path=ppt/tags/tag12.xml><?xml version="1.0" encoding="utf-8"?>
<p:tagLst xmlns:a="http://schemas.openxmlformats.org/drawingml/2006/main" xmlns:r="http://schemas.openxmlformats.org/officeDocument/2006/relationships" xmlns:p="http://schemas.openxmlformats.org/presentationml/2006/main">
  <p:tag name="PR3Z3N" val="37faa7a2-e5bb-49cc-80f5-17c496d66ca3"/>
</p:tagLst>
</file>

<file path=ppt/tags/tag13.xml><?xml version="1.0" encoding="utf-8"?>
<p:tagLst xmlns:a="http://schemas.openxmlformats.org/drawingml/2006/main" xmlns:r="http://schemas.openxmlformats.org/officeDocument/2006/relationships" xmlns:p="http://schemas.openxmlformats.org/presentationml/2006/main">
  <p:tag name="PR3Z3N" val="5c220fe0-6a86-4084-96f5-0dcea05954f2"/>
</p:tagLst>
</file>

<file path=ppt/tags/tag14.xml><?xml version="1.0" encoding="utf-8"?>
<p:tagLst xmlns:a="http://schemas.openxmlformats.org/drawingml/2006/main" xmlns:r="http://schemas.openxmlformats.org/officeDocument/2006/relationships" xmlns:p="http://schemas.openxmlformats.org/presentationml/2006/main">
  <p:tag name="PR3Z3N" val="3d373d29-10d0-49a8-9ab1-1355b6a5f4d6"/>
</p:tagLst>
</file>

<file path=ppt/tags/tag15.xml><?xml version="1.0" encoding="utf-8"?>
<p:tagLst xmlns:a="http://schemas.openxmlformats.org/drawingml/2006/main" xmlns:r="http://schemas.openxmlformats.org/officeDocument/2006/relationships" xmlns:p="http://schemas.openxmlformats.org/presentationml/2006/main">
  <p:tag name="PR3Z3N" val="e4bd6648-b009-430b-a377-880dd779243a"/>
</p:tagLst>
</file>

<file path=ppt/tags/tag16.xml><?xml version="1.0" encoding="utf-8"?>
<p:tagLst xmlns:a="http://schemas.openxmlformats.org/drawingml/2006/main" xmlns:r="http://schemas.openxmlformats.org/officeDocument/2006/relationships" xmlns:p="http://schemas.openxmlformats.org/presentationml/2006/main">
  <p:tag name="PR3Z3N" val="ea1836c8-429b-4cbc-8845-b2eb67c49933"/>
</p:tagLst>
</file>

<file path=ppt/tags/tag17.xml><?xml version="1.0" encoding="utf-8"?>
<p:tagLst xmlns:a="http://schemas.openxmlformats.org/drawingml/2006/main" xmlns:r="http://schemas.openxmlformats.org/officeDocument/2006/relationships" xmlns:p="http://schemas.openxmlformats.org/presentationml/2006/main">
  <p:tag name="PR3Z3N" val="3d4daf25-7b2c-4ec4-b16a-ea736cee0647"/>
</p:tagLst>
</file>

<file path=ppt/tags/tag18.xml><?xml version="1.0" encoding="utf-8"?>
<p:tagLst xmlns:a="http://schemas.openxmlformats.org/drawingml/2006/main" xmlns:r="http://schemas.openxmlformats.org/officeDocument/2006/relationships" xmlns:p="http://schemas.openxmlformats.org/presentationml/2006/main">
  <p:tag name="PR3Z3N" val="384da7b5-e107-46b5-93a2-30dcc4d310ff"/>
</p:tagLst>
</file>

<file path=ppt/tags/tag19.xml><?xml version="1.0" encoding="utf-8"?>
<p:tagLst xmlns:a="http://schemas.openxmlformats.org/drawingml/2006/main" xmlns:r="http://schemas.openxmlformats.org/officeDocument/2006/relationships" xmlns:p="http://schemas.openxmlformats.org/presentationml/2006/main">
  <p:tag name="PR3Z3N" val="c06de143-63bb-4c7f-bf38-ddfc23de7cb0"/>
</p:tagLst>
</file>

<file path=ppt/tags/tag2.xml><?xml version="1.0" encoding="utf-8"?>
<p:tagLst xmlns:a="http://schemas.openxmlformats.org/drawingml/2006/main" xmlns:r="http://schemas.openxmlformats.org/officeDocument/2006/relationships" xmlns:p="http://schemas.openxmlformats.org/presentationml/2006/main">
  <p:tag name="PR3Z3N" val="4584041e-01cd-4675-9b0f-4f4f96197455"/>
</p:tagLst>
</file>

<file path=ppt/tags/tag20.xml><?xml version="1.0" encoding="utf-8"?>
<p:tagLst xmlns:a="http://schemas.openxmlformats.org/drawingml/2006/main" xmlns:r="http://schemas.openxmlformats.org/officeDocument/2006/relationships" xmlns:p="http://schemas.openxmlformats.org/presentationml/2006/main">
  <p:tag name="PR3Z3N" val="6fd0e13f-f634-4368-aeed-7876018b02fe"/>
</p:tagLst>
</file>

<file path=ppt/tags/tag21.xml><?xml version="1.0" encoding="utf-8"?>
<p:tagLst xmlns:a="http://schemas.openxmlformats.org/drawingml/2006/main" xmlns:r="http://schemas.openxmlformats.org/officeDocument/2006/relationships" xmlns:p="http://schemas.openxmlformats.org/presentationml/2006/main">
  <p:tag name="PR3Z3N" val="64403468-9332-417a-aafb-43cf1883d628"/>
</p:tagLst>
</file>

<file path=ppt/tags/tag22.xml><?xml version="1.0" encoding="utf-8"?>
<p:tagLst xmlns:a="http://schemas.openxmlformats.org/drawingml/2006/main" xmlns:r="http://schemas.openxmlformats.org/officeDocument/2006/relationships" xmlns:p="http://schemas.openxmlformats.org/presentationml/2006/main">
  <p:tag name="PR3Z3N" val="51b0721a-53b6-4268-9da1-b68493336a13"/>
</p:tagLst>
</file>

<file path=ppt/tags/tag23.xml><?xml version="1.0" encoding="utf-8"?>
<p:tagLst xmlns:a="http://schemas.openxmlformats.org/drawingml/2006/main" xmlns:r="http://schemas.openxmlformats.org/officeDocument/2006/relationships" xmlns:p="http://schemas.openxmlformats.org/presentationml/2006/main">
  <p:tag name="PR3Z3N" val="8af12027-90ec-4ad9-af4f-da7b2b2a9b54"/>
</p:tagLst>
</file>

<file path=ppt/tags/tag24.xml><?xml version="1.0" encoding="utf-8"?>
<p:tagLst xmlns:a="http://schemas.openxmlformats.org/drawingml/2006/main" xmlns:r="http://schemas.openxmlformats.org/officeDocument/2006/relationships" xmlns:p="http://schemas.openxmlformats.org/presentationml/2006/main">
  <p:tag name="PR3Z3N" val="3a2ad094-9bca-44cb-8dc9-a3fa4ad6b8fc"/>
</p:tagLst>
</file>

<file path=ppt/tags/tag25.xml><?xml version="1.0" encoding="utf-8"?>
<p:tagLst xmlns:a="http://schemas.openxmlformats.org/drawingml/2006/main" xmlns:r="http://schemas.openxmlformats.org/officeDocument/2006/relationships" xmlns:p="http://schemas.openxmlformats.org/presentationml/2006/main">
  <p:tag name="PR3Z3N" val="4b4db8bf-b3ed-45a5-b496-6bb8189bbc82"/>
</p:tagLst>
</file>

<file path=ppt/tags/tag26.xml><?xml version="1.0" encoding="utf-8"?>
<p:tagLst xmlns:a="http://schemas.openxmlformats.org/drawingml/2006/main" xmlns:r="http://schemas.openxmlformats.org/officeDocument/2006/relationships" xmlns:p="http://schemas.openxmlformats.org/presentationml/2006/main">
  <p:tag name="PR3Z3N" val="5cdde627-79b1-46c4-9430-fca1f234c080"/>
</p:tagLst>
</file>

<file path=ppt/tags/tag27.xml><?xml version="1.0" encoding="utf-8"?>
<p:tagLst xmlns:a="http://schemas.openxmlformats.org/drawingml/2006/main" xmlns:r="http://schemas.openxmlformats.org/officeDocument/2006/relationships" xmlns:p="http://schemas.openxmlformats.org/presentationml/2006/main">
  <p:tag name="PR3Z3N" val="156b9e06-786a-40d2-aaf8-007eb1cb2120"/>
</p:tagLst>
</file>

<file path=ppt/tags/tag28.xml><?xml version="1.0" encoding="utf-8"?>
<p:tagLst xmlns:a="http://schemas.openxmlformats.org/drawingml/2006/main" xmlns:r="http://schemas.openxmlformats.org/officeDocument/2006/relationships" xmlns:p="http://schemas.openxmlformats.org/presentationml/2006/main">
  <p:tag name="PR3Z3N" val="d41c77ef-9351-4f51-a9aa-78705c99ba10"/>
</p:tagLst>
</file>

<file path=ppt/tags/tag29.xml><?xml version="1.0" encoding="utf-8"?>
<p:tagLst xmlns:a="http://schemas.openxmlformats.org/drawingml/2006/main" xmlns:r="http://schemas.openxmlformats.org/officeDocument/2006/relationships" xmlns:p="http://schemas.openxmlformats.org/presentationml/2006/main">
  <p:tag name="PR3Z3N" val="3f3e1c30-0208-407d-b431-f25946e093b3"/>
</p:tagLst>
</file>

<file path=ppt/tags/tag3.xml><?xml version="1.0" encoding="utf-8"?>
<p:tagLst xmlns:a="http://schemas.openxmlformats.org/drawingml/2006/main" xmlns:r="http://schemas.openxmlformats.org/officeDocument/2006/relationships" xmlns:p="http://schemas.openxmlformats.org/presentationml/2006/main">
  <p:tag name="PR3Z3N" val="083d1ba2-fc20-4661-bef2-51b6e53dd182"/>
</p:tagLst>
</file>

<file path=ppt/tags/tag30.xml><?xml version="1.0" encoding="utf-8"?>
<p:tagLst xmlns:a="http://schemas.openxmlformats.org/drawingml/2006/main" xmlns:r="http://schemas.openxmlformats.org/officeDocument/2006/relationships" xmlns:p="http://schemas.openxmlformats.org/presentationml/2006/main">
  <p:tag name="PR3Z3N" val="15cfb12e-1888-4bde-810e-5739621d3474"/>
</p:tagLst>
</file>

<file path=ppt/tags/tag31.xml><?xml version="1.0" encoding="utf-8"?>
<p:tagLst xmlns:a="http://schemas.openxmlformats.org/drawingml/2006/main" xmlns:r="http://schemas.openxmlformats.org/officeDocument/2006/relationships" xmlns:p="http://schemas.openxmlformats.org/presentationml/2006/main">
  <p:tag name="PR3Z3N" val="e88932b4-cef1-40c4-bedd-ab34f7aed189"/>
</p:tagLst>
</file>

<file path=ppt/tags/tag32.xml><?xml version="1.0" encoding="utf-8"?>
<p:tagLst xmlns:a="http://schemas.openxmlformats.org/drawingml/2006/main" xmlns:r="http://schemas.openxmlformats.org/officeDocument/2006/relationships" xmlns:p="http://schemas.openxmlformats.org/presentationml/2006/main">
  <p:tag name="PR3Z3N" val="21c17d1e-11c5-44ce-a270-023aa303a1c5"/>
</p:tagLst>
</file>

<file path=ppt/tags/tag33.xml><?xml version="1.0" encoding="utf-8"?>
<p:tagLst xmlns:a="http://schemas.openxmlformats.org/drawingml/2006/main" xmlns:r="http://schemas.openxmlformats.org/officeDocument/2006/relationships" xmlns:p="http://schemas.openxmlformats.org/presentationml/2006/main">
  <p:tag name="PR3Z3N" val="7bfe57ad-96d5-4d5b-9656-564bb22be74a"/>
</p:tagLst>
</file>

<file path=ppt/tags/tag34.xml><?xml version="1.0" encoding="utf-8"?>
<p:tagLst xmlns:a="http://schemas.openxmlformats.org/drawingml/2006/main" xmlns:r="http://schemas.openxmlformats.org/officeDocument/2006/relationships" xmlns:p="http://schemas.openxmlformats.org/presentationml/2006/main">
  <p:tag name="PR3Z3N" val="082e1141-9c2a-416d-9ff6-dc6df21cd006"/>
</p:tagLst>
</file>

<file path=ppt/tags/tag35.xml><?xml version="1.0" encoding="utf-8"?>
<p:tagLst xmlns:a="http://schemas.openxmlformats.org/drawingml/2006/main" xmlns:r="http://schemas.openxmlformats.org/officeDocument/2006/relationships" xmlns:p="http://schemas.openxmlformats.org/presentationml/2006/main">
  <p:tag name="PR3Z3N" val="c50de1ea-15b6-4ab6-9e4a-a92fb747d995"/>
</p:tagLst>
</file>

<file path=ppt/tags/tag36.xml><?xml version="1.0" encoding="utf-8"?>
<p:tagLst xmlns:a="http://schemas.openxmlformats.org/drawingml/2006/main" xmlns:r="http://schemas.openxmlformats.org/officeDocument/2006/relationships" xmlns:p="http://schemas.openxmlformats.org/presentationml/2006/main">
  <p:tag name="PR3Z3N" val="9cfb1214-6ac2-434f-a193-2ddf6a885c76"/>
</p:tagLst>
</file>

<file path=ppt/tags/tag37.xml><?xml version="1.0" encoding="utf-8"?>
<p:tagLst xmlns:a="http://schemas.openxmlformats.org/drawingml/2006/main" xmlns:r="http://schemas.openxmlformats.org/officeDocument/2006/relationships" xmlns:p="http://schemas.openxmlformats.org/presentationml/2006/main">
  <p:tag name="PR3Z3N" val="5c74e743-0141-4eae-b4b7-b048004543c6"/>
</p:tagLst>
</file>

<file path=ppt/tags/tag38.xml><?xml version="1.0" encoding="utf-8"?>
<p:tagLst xmlns:a="http://schemas.openxmlformats.org/drawingml/2006/main" xmlns:r="http://schemas.openxmlformats.org/officeDocument/2006/relationships" xmlns:p="http://schemas.openxmlformats.org/presentationml/2006/main">
  <p:tag name="PR3Z3N" val="2cf5d5a6-0c4d-448f-8c15-9366320aa578"/>
</p:tagLst>
</file>

<file path=ppt/tags/tag39.xml><?xml version="1.0" encoding="utf-8"?>
<p:tagLst xmlns:a="http://schemas.openxmlformats.org/drawingml/2006/main" xmlns:r="http://schemas.openxmlformats.org/officeDocument/2006/relationships" xmlns:p="http://schemas.openxmlformats.org/presentationml/2006/main">
  <p:tag name="PR3Z3N" val="f026e88e-d473-4087-a060-8a432de3736d"/>
</p:tagLst>
</file>

<file path=ppt/tags/tag4.xml><?xml version="1.0" encoding="utf-8"?>
<p:tagLst xmlns:a="http://schemas.openxmlformats.org/drawingml/2006/main" xmlns:r="http://schemas.openxmlformats.org/officeDocument/2006/relationships" xmlns:p="http://schemas.openxmlformats.org/presentationml/2006/main">
  <p:tag name="PR3Z3N" val="ed53f91a-27ba-4d54-a580-691e5ad8fb77"/>
</p:tagLst>
</file>

<file path=ppt/tags/tag40.xml><?xml version="1.0" encoding="utf-8"?>
<p:tagLst xmlns:a="http://schemas.openxmlformats.org/drawingml/2006/main" xmlns:r="http://schemas.openxmlformats.org/officeDocument/2006/relationships" xmlns:p="http://schemas.openxmlformats.org/presentationml/2006/main">
  <p:tag name="PR3Z3N" val="299a20f3-e302-4405-be35-8ac7d64f15ef"/>
</p:tagLst>
</file>

<file path=ppt/tags/tag41.xml><?xml version="1.0" encoding="utf-8"?>
<p:tagLst xmlns:a="http://schemas.openxmlformats.org/drawingml/2006/main" xmlns:r="http://schemas.openxmlformats.org/officeDocument/2006/relationships" xmlns:p="http://schemas.openxmlformats.org/presentationml/2006/main">
  <p:tag name="PR3Z3N" val="e1437dfb-b59a-4f1e-a380-84db4d16a3f1"/>
</p:tagLst>
</file>

<file path=ppt/tags/tag42.xml><?xml version="1.0" encoding="utf-8"?>
<p:tagLst xmlns:a="http://schemas.openxmlformats.org/drawingml/2006/main" xmlns:r="http://schemas.openxmlformats.org/officeDocument/2006/relationships" xmlns:p="http://schemas.openxmlformats.org/presentationml/2006/main">
  <p:tag name="PR3Z3N" val="e6346e71-83f7-4ccc-9d8c-0e94cabf18d1"/>
</p:tagLst>
</file>

<file path=ppt/tags/tag43.xml><?xml version="1.0" encoding="utf-8"?>
<p:tagLst xmlns:a="http://schemas.openxmlformats.org/drawingml/2006/main" xmlns:r="http://schemas.openxmlformats.org/officeDocument/2006/relationships" xmlns:p="http://schemas.openxmlformats.org/presentationml/2006/main">
  <p:tag name="PR3Z3N" val="d82b0a00-9675-4fd7-8abe-f618b0f8b9d2"/>
</p:tagLst>
</file>

<file path=ppt/tags/tag44.xml><?xml version="1.0" encoding="utf-8"?>
<p:tagLst xmlns:a="http://schemas.openxmlformats.org/drawingml/2006/main" xmlns:r="http://schemas.openxmlformats.org/officeDocument/2006/relationships" xmlns:p="http://schemas.openxmlformats.org/presentationml/2006/main">
  <p:tag name="PR3Z3N" val="3aeb68f2-5ecb-41bc-9bb6-57be603f5150"/>
</p:tagLst>
</file>

<file path=ppt/tags/tag45.xml><?xml version="1.0" encoding="utf-8"?>
<p:tagLst xmlns:a="http://schemas.openxmlformats.org/drawingml/2006/main" xmlns:r="http://schemas.openxmlformats.org/officeDocument/2006/relationships" xmlns:p="http://schemas.openxmlformats.org/presentationml/2006/main">
  <p:tag name="PR3Z3N" val="5251c3c7-8982-4012-852c-2ba252960559"/>
</p:tagLst>
</file>

<file path=ppt/tags/tag46.xml><?xml version="1.0" encoding="utf-8"?>
<p:tagLst xmlns:a="http://schemas.openxmlformats.org/drawingml/2006/main" xmlns:r="http://schemas.openxmlformats.org/officeDocument/2006/relationships" xmlns:p="http://schemas.openxmlformats.org/presentationml/2006/main">
  <p:tag name="PR3Z3N" val="a7c6e71d-fe69-4af6-8208-7b1eb4860458"/>
</p:tagLst>
</file>

<file path=ppt/tags/tag47.xml><?xml version="1.0" encoding="utf-8"?>
<p:tagLst xmlns:a="http://schemas.openxmlformats.org/drawingml/2006/main" xmlns:r="http://schemas.openxmlformats.org/officeDocument/2006/relationships" xmlns:p="http://schemas.openxmlformats.org/presentationml/2006/main">
  <p:tag name="PR3Z3N" val="9bc2e43a-2a34-422d-b479-5dae152dcb59"/>
</p:tagLst>
</file>

<file path=ppt/tags/tag48.xml><?xml version="1.0" encoding="utf-8"?>
<p:tagLst xmlns:a="http://schemas.openxmlformats.org/drawingml/2006/main" xmlns:r="http://schemas.openxmlformats.org/officeDocument/2006/relationships" xmlns:p="http://schemas.openxmlformats.org/presentationml/2006/main">
  <p:tag name="PR3Z3N" val="fcbd55bc-d105-47c3-8b96-336455c4b9bd"/>
</p:tagLst>
</file>

<file path=ppt/tags/tag49.xml><?xml version="1.0" encoding="utf-8"?>
<p:tagLst xmlns:a="http://schemas.openxmlformats.org/drawingml/2006/main" xmlns:r="http://schemas.openxmlformats.org/officeDocument/2006/relationships" xmlns:p="http://schemas.openxmlformats.org/presentationml/2006/main">
  <p:tag name="PR3Z3N" val="49784565-d8b2-4494-8693-a16d7fed72c5"/>
</p:tagLst>
</file>

<file path=ppt/tags/tag5.xml><?xml version="1.0" encoding="utf-8"?>
<p:tagLst xmlns:a="http://schemas.openxmlformats.org/drawingml/2006/main" xmlns:r="http://schemas.openxmlformats.org/officeDocument/2006/relationships" xmlns:p="http://schemas.openxmlformats.org/presentationml/2006/main">
  <p:tag name="PR3Z3N" val="99f42f65-4fd3-4cb4-b833-4162b1be6ba8"/>
</p:tagLst>
</file>

<file path=ppt/tags/tag50.xml><?xml version="1.0" encoding="utf-8"?>
<p:tagLst xmlns:a="http://schemas.openxmlformats.org/drawingml/2006/main" xmlns:r="http://schemas.openxmlformats.org/officeDocument/2006/relationships" xmlns:p="http://schemas.openxmlformats.org/presentationml/2006/main">
  <p:tag name="PR3Z3N" val="8fb2d59f-c373-4090-9dee-7cee75f7b085"/>
</p:tagLst>
</file>

<file path=ppt/tags/tag51.xml><?xml version="1.0" encoding="utf-8"?>
<p:tagLst xmlns:a="http://schemas.openxmlformats.org/drawingml/2006/main" xmlns:r="http://schemas.openxmlformats.org/officeDocument/2006/relationships" xmlns:p="http://schemas.openxmlformats.org/presentationml/2006/main">
  <p:tag name="PR3Z3N" val="60bc6daa-a009-4a6b-b6b6-a9f3f6cd32a9"/>
</p:tagLst>
</file>

<file path=ppt/tags/tag52.xml><?xml version="1.0" encoding="utf-8"?>
<p:tagLst xmlns:a="http://schemas.openxmlformats.org/drawingml/2006/main" xmlns:r="http://schemas.openxmlformats.org/officeDocument/2006/relationships" xmlns:p="http://schemas.openxmlformats.org/presentationml/2006/main">
  <p:tag name="PR3Z3N" val="27490db5-daf4-490f-ad74-063211ac0b01"/>
</p:tagLst>
</file>

<file path=ppt/tags/tag53.xml><?xml version="1.0" encoding="utf-8"?>
<p:tagLst xmlns:a="http://schemas.openxmlformats.org/drawingml/2006/main" xmlns:r="http://schemas.openxmlformats.org/officeDocument/2006/relationships" xmlns:p="http://schemas.openxmlformats.org/presentationml/2006/main">
  <p:tag name="PR3Z3N" val="11a300fe-e0a9-4b10-b975-e1592a04b0ec"/>
</p:tagLst>
</file>

<file path=ppt/tags/tag54.xml><?xml version="1.0" encoding="utf-8"?>
<p:tagLst xmlns:a="http://schemas.openxmlformats.org/drawingml/2006/main" xmlns:r="http://schemas.openxmlformats.org/officeDocument/2006/relationships" xmlns:p="http://schemas.openxmlformats.org/presentationml/2006/main">
  <p:tag name="PR3Z3N" val="b38fec0b-7130-4f36-a849-fe7dd8282a3e"/>
</p:tagLst>
</file>

<file path=ppt/tags/tag55.xml><?xml version="1.0" encoding="utf-8"?>
<p:tagLst xmlns:a="http://schemas.openxmlformats.org/drawingml/2006/main" xmlns:r="http://schemas.openxmlformats.org/officeDocument/2006/relationships" xmlns:p="http://schemas.openxmlformats.org/presentationml/2006/main">
  <p:tag name="PR3Z3N" val="5780f094-64fc-47e7-a1ea-5fe5ae11cf89"/>
</p:tagLst>
</file>

<file path=ppt/tags/tag56.xml><?xml version="1.0" encoding="utf-8"?>
<p:tagLst xmlns:a="http://schemas.openxmlformats.org/drawingml/2006/main" xmlns:r="http://schemas.openxmlformats.org/officeDocument/2006/relationships" xmlns:p="http://schemas.openxmlformats.org/presentationml/2006/main">
  <p:tag name="PR3Z3N" val="d7dc0d11-4e76-4bf6-85f5-2afb17fb18f3"/>
</p:tagLst>
</file>

<file path=ppt/tags/tag57.xml><?xml version="1.0" encoding="utf-8"?>
<p:tagLst xmlns:a="http://schemas.openxmlformats.org/drawingml/2006/main" xmlns:r="http://schemas.openxmlformats.org/officeDocument/2006/relationships" xmlns:p="http://schemas.openxmlformats.org/presentationml/2006/main">
  <p:tag name="PR3Z3N" val="d5ff4010-220c-4227-b353-fed702123db1"/>
</p:tagLst>
</file>

<file path=ppt/tags/tag58.xml><?xml version="1.0" encoding="utf-8"?>
<p:tagLst xmlns:a="http://schemas.openxmlformats.org/drawingml/2006/main" xmlns:r="http://schemas.openxmlformats.org/officeDocument/2006/relationships" xmlns:p="http://schemas.openxmlformats.org/presentationml/2006/main">
  <p:tag name="PR3Z3N" val="85f8677f-b9f2-4b24-8c8a-d93084bcff3c"/>
</p:tagLst>
</file>

<file path=ppt/tags/tag59.xml><?xml version="1.0" encoding="utf-8"?>
<p:tagLst xmlns:a="http://schemas.openxmlformats.org/drawingml/2006/main" xmlns:r="http://schemas.openxmlformats.org/officeDocument/2006/relationships" xmlns:p="http://schemas.openxmlformats.org/presentationml/2006/main">
  <p:tag name="PR3Z3N" val="a5f17e3a-91e1-46eb-9f1e-cd507908f342"/>
  <p:tag name="THINKCELLSHAPEDONOTDELETE" val="pkV9uP48jtkO6P.TOX0SLeQ"/>
</p:tagLst>
</file>

<file path=ppt/tags/tag6.xml><?xml version="1.0" encoding="utf-8"?>
<p:tagLst xmlns:a="http://schemas.openxmlformats.org/drawingml/2006/main" xmlns:r="http://schemas.openxmlformats.org/officeDocument/2006/relationships" xmlns:p="http://schemas.openxmlformats.org/presentationml/2006/main">
  <p:tag name="PR3Z3N" val="b681b803-3674-466d-b004-af2ab0b37e7f"/>
</p:tagLst>
</file>

<file path=ppt/tags/tag60.xml><?xml version="1.0" encoding="utf-8"?>
<p:tagLst xmlns:a="http://schemas.openxmlformats.org/drawingml/2006/main" xmlns:r="http://schemas.openxmlformats.org/officeDocument/2006/relationships" xmlns:p="http://schemas.openxmlformats.org/presentationml/2006/main">
  <p:tag name="PR3Z3N" val="0dd48764-6c3f-4091-8b8f-d977586fba2c"/>
</p:tagLst>
</file>

<file path=ppt/tags/tag61.xml><?xml version="1.0" encoding="utf-8"?>
<p:tagLst xmlns:a="http://schemas.openxmlformats.org/drawingml/2006/main" xmlns:r="http://schemas.openxmlformats.org/officeDocument/2006/relationships" xmlns:p="http://schemas.openxmlformats.org/presentationml/2006/main">
  <p:tag name="PR3Z3N" val="a51053b4-ad92-4d0b-8e02-1b4b0ce5d506"/>
</p:tagLst>
</file>

<file path=ppt/tags/tag62.xml><?xml version="1.0" encoding="utf-8"?>
<p:tagLst xmlns:a="http://schemas.openxmlformats.org/drawingml/2006/main" xmlns:r="http://schemas.openxmlformats.org/officeDocument/2006/relationships" xmlns:p="http://schemas.openxmlformats.org/presentationml/2006/main">
  <p:tag name="PR3Z3N" val="ef211e8a-4b3f-4c75-80f2-04c527f55322"/>
</p:tagLst>
</file>

<file path=ppt/tags/tag63.xml><?xml version="1.0" encoding="utf-8"?>
<p:tagLst xmlns:a="http://schemas.openxmlformats.org/drawingml/2006/main" xmlns:r="http://schemas.openxmlformats.org/officeDocument/2006/relationships" xmlns:p="http://schemas.openxmlformats.org/presentationml/2006/main">
  <p:tag name="PR3Z3N" val="7762bf16-9fcb-4e5a-849e-9dd6790f4bdf"/>
  <p:tag name="THINKCELLSHAPEDONOTDELETE" val="pgAcYRSllJ0ubbcrT0MbdvA"/>
</p:tagLst>
</file>

<file path=ppt/tags/tag64.xml><?xml version="1.0" encoding="utf-8"?>
<p:tagLst xmlns:a="http://schemas.openxmlformats.org/drawingml/2006/main" xmlns:r="http://schemas.openxmlformats.org/officeDocument/2006/relationships" xmlns:p="http://schemas.openxmlformats.org/presentationml/2006/main">
  <p:tag name="PR3Z3N" val="5eaa4313-18ac-4903-b4b0-a5d304eb2118"/>
</p:tagLst>
</file>

<file path=ppt/tags/tag65.xml><?xml version="1.0" encoding="utf-8"?>
<p:tagLst xmlns:a="http://schemas.openxmlformats.org/drawingml/2006/main" xmlns:r="http://schemas.openxmlformats.org/officeDocument/2006/relationships" xmlns:p="http://schemas.openxmlformats.org/presentationml/2006/main">
  <p:tag name="PR3Z3N" val="a4b20975-4d79-4f36-ac0e-044e976b3fd6"/>
  <p:tag name="THINKCELLSHAPEDONOTDELETE" val="pkV9uP48jtkO6P.TOX0SLeQ"/>
</p:tagLst>
</file>

<file path=ppt/tags/tag66.xml><?xml version="1.0" encoding="utf-8"?>
<p:tagLst xmlns:a="http://schemas.openxmlformats.org/drawingml/2006/main" xmlns:r="http://schemas.openxmlformats.org/officeDocument/2006/relationships" xmlns:p="http://schemas.openxmlformats.org/presentationml/2006/main">
  <p:tag name="PR3Z3N" val="3aa366c5-bd5e-4b3b-97fe-a752bfe1e5fd"/>
</p:tagLst>
</file>

<file path=ppt/tags/tag67.xml><?xml version="1.0" encoding="utf-8"?>
<p:tagLst xmlns:a="http://schemas.openxmlformats.org/drawingml/2006/main" xmlns:r="http://schemas.openxmlformats.org/officeDocument/2006/relationships" xmlns:p="http://schemas.openxmlformats.org/presentationml/2006/main">
  <p:tag name="PR3Z3N" val="61708dbe-f152-4ff3-bf49-8a99321f9bf2"/>
</p:tagLst>
</file>

<file path=ppt/tags/tag68.xml><?xml version="1.0" encoding="utf-8"?>
<p:tagLst xmlns:a="http://schemas.openxmlformats.org/drawingml/2006/main" xmlns:r="http://schemas.openxmlformats.org/officeDocument/2006/relationships" xmlns:p="http://schemas.openxmlformats.org/presentationml/2006/main">
  <p:tag name="PR3Z3N" val="fc223324-e005-4fe0-8d37-fdb89e8e1a31"/>
</p:tagLst>
</file>

<file path=ppt/tags/tag69.xml><?xml version="1.0" encoding="utf-8"?>
<p:tagLst xmlns:a="http://schemas.openxmlformats.org/drawingml/2006/main" xmlns:r="http://schemas.openxmlformats.org/officeDocument/2006/relationships" xmlns:p="http://schemas.openxmlformats.org/presentationml/2006/main">
  <p:tag name="PR3Z3N" val="df1902b8-00de-4eae-8b8e-4e78413684af"/>
  <p:tag name="THINKCELLSHAPEDONOTDELETE" val="pgAcYRSllJ0ubbcrT0MbdvA"/>
</p:tagLst>
</file>

<file path=ppt/tags/tag7.xml><?xml version="1.0" encoding="utf-8"?>
<p:tagLst xmlns:a="http://schemas.openxmlformats.org/drawingml/2006/main" xmlns:r="http://schemas.openxmlformats.org/officeDocument/2006/relationships" xmlns:p="http://schemas.openxmlformats.org/presentationml/2006/main">
  <p:tag name="PR3Z3N" val="3afaf2e3-67fc-4c52-bc19-ed4208c963c7"/>
</p:tagLst>
</file>

<file path=ppt/tags/tag70.xml><?xml version="1.0" encoding="utf-8"?>
<p:tagLst xmlns:a="http://schemas.openxmlformats.org/drawingml/2006/main" xmlns:r="http://schemas.openxmlformats.org/officeDocument/2006/relationships" xmlns:p="http://schemas.openxmlformats.org/presentationml/2006/main">
  <p:tag name="PR3Z3N" val="50f31f92-6173-4b44-8805-3124184c6c08"/>
</p:tagLst>
</file>

<file path=ppt/tags/tag71.xml><?xml version="1.0" encoding="utf-8"?>
<p:tagLst xmlns:a="http://schemas.openxmlformats.org/drawingml/2006/main" xmlns:r="http://schemas.openxmlformats.org/officeDocument/2006/relationships" xmlns:p="http://schemas.openxmlformats.org/presentationml/2006/main">
  <p:tag name="PR3Z3N" val="dd3366d1-5db2-4597-8b62-4830d81b0a0a"/>
</p:tagLst>
</file>

<file path=ppt/tags/tag72.xml><?xml version="1.0" encoding="utf-8"?>
<p:tagLst xmlns:a="http://schemas.openxmlformats.org/drawingml/2006/main" xmlns:r="http://schemas.openxmlformats.org/officeDocument/2006/relationships" xmlns:p="http://schemas.openxmlformats.org/presentationml/2006/main">
  <p:tag name="PR3Z3N" val="66f6dba1-8385-4c55-b10e-a64c07cc41c7"/>
</p:tagLst>
</file>

<file path=ppt/tags/tag73.xml><?xml version="1.0" encoding="utf-8"?>
<p:tagLst xmlns:a="http://schemas.openxmlformats.org/drawingml/2006/main" xmlns:r="http://schemas.openxmlformats.org/officeDocument/2006/relationships" xmlns:p="http://schemas.openxmlformats.org/presentationml/2006/main">
  <p:tag name="PR3Z3N" val="cbdb62be-4369-4766-af61-7a61a85cc931"/>
</p:tagLst>
</file>

<file path=ppt/tags/tag74.xml><?xml version="1.0" encoding="utf-8"?>
<p:tagLst xmlns:a="http://schemas.openxmlformats.org/drawingml/2006/main" xmlns:r="http://schemas.openxmlformats.org/officeDocument/2006/relationships" xmlns:p="http://schemas.openxmlformats.org/presentationml/2006/main">
  <p:tag name="PR3Z3N" val="5afd3044-0da5-4a87-80a4-fd050d43b3a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PR3Z3N" val="c9e8d41c-3be1-414a-8277-5c0f7b0e2a29"/>
</p:tagLst>
</file>

<file path=ppt/tags/tag9.xml><?xml version="1.0" encoding="utf-8"?>
<p:tagLst xmlns:a="http://schemas.openxmlformats.org/drawingml/2006/main" xmlns:r="http://schemas.openxmlformats.org/officeDocument/2006/relationships" xmlns:p="http://schemas.openxmlformats.org/presentationml/2006/main">
  <p:tag name="PR3Z3N" val="4052aab4-78d1-4948-be2d-bb01df40d2a9"/>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35222ec3-ce27-4deb-9c60-9a43bcd569ff">
      <Terms xmlns="http://schemas.microsoft.com/office/infopath/2007/PartnerControls"/>
    </lcf76f155ced4ddcb4097134ff3c332f>
    <TaxCatchAll xmlns="88bb9aa8-0f58-4ce7-b670-0c58ce47f44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394B8DAAE217E45AC0F6E97E6F6B542" ma:contentTypeVersion="" ma:contentTypeDescription="Create a new document." ma:contentTypeScope="" ma:versionID="07ff29fa62f0862a150b9607454f3c62">
  <xsd:schema xmlns:xsd="http://www.w3.org/2001/XMLSchema" xmlns:xs="http://www.w3.org/2001/XMLSchema" xmlns:p="http://schemas.microsoft.com/office/2006/metadata/properties" xmlns:ns2="8b536f62-3d7d-4d8d-91b2-3529adf13c3e" xmlns:ns3="35222ec3-ce27-4deb-9c60-9a43bcd569ff" xmlns:ns4="88bb9aa8-0f58-4ce7-b670-0c58ce47f445" targetNamespace="http://schemas.microsoft.com/office/2006/metadata/properties" ma:root="true" ma:fieldsID="806e1dc11e3ff16ba1c0df4f6b6918c7" ns2:_="" ns3:_="" ns4:_="">
    <xsd:import namespace="8b536f62-3d7d-4d8d-91b2-3529adf13c3e"/>
    <xsd:import namespace="35222ec3-ce27-4deb-9c60-9a43bcd569ff"/>
    <xsd:import namespace="88bb9aa8-0f58-4ce7-b670-0c58ce47f445"/>
    <xsd:element name="properties">
      <xsd:complexType>
        <xsd:sequence>
          <xsd:element name="documentManagement">
            <xsd:complexType>
              <xsd:all>
                <xsd:element ref="ns2:SharedWithUsers" minOccurs="0"/>
                <xsd:element ref="ns2:SharingHintHash"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3:MediaServiceGenerationTime" minOccurs="0"/>
                <xsd:element ref="ns3:MediaServiceEventHashCode" minOccurs="0"/>
                <xsd:element ref="ns3:MediaServiceAutoKeyPoints" minOccurs="0"/>
                <xsd:element ref="ns3:MediaServiceKeyPoints" minOccurs="0"/>
                <xsd:element ref="ns3:MediaLengthInSeconds" minOccurs="0"/>
                <xsd:element ref="ns4:TaxCatchAll" minOccurs="0"/>
                <xsd:element ref="ns3:lcf76f155ced4ddcb4097134ff3c332f"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b536f62-3d7d-4d8d-91b2-3529adf13c3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222ec3-ce27-4deb-9c60-9a43bcd569ff"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AutoTags" ma:index="14" nillable="true" ma:displayName="MediaServiceAutoTags" ma:description=""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e5fe488b-0749-4c90-bfbe-6f6e50d701c8"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5"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8bb9aa8-0f58-4ce7-b670-0c58ce47f445"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30bbf978-bfc1-408e-a50f-91a91c925a8e}" ma:internalName="TaxCatchAll" ma:showField="CatchAllData" ma:web="88bb9aa8-0f58-4ce7-b670-0c58ce47f44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1364366-53C1-46B4-8BC1-921E2257B823}">
  <ds:schemaRefs>
    <ds:schemaRef ds:uri="35222ec3-ce27-4deb-9c60-9a43bcd569ff"/>
    <ds:schemaRef ds:uri="88bb9aa8-0f58-4ce7-b670-0c58ce47f445"/>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D44C3058-72B8-4985-B822-F2B65448320C}">
  <ds:schemaRefs>
    <ds:schemaRef ds:uri="35222ec3-ce27-4deb-9c60-9a43bcd569ff"/>
    <ds:schemaRef ds:uri="88bb9aa8-0f58-4ce7-b670-0c58ce47f445"/>
    <ds:schemaRef ds:uri="8b536f62-3d7d-4d8d-91b2-3529adf13c3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B4363EA-3B83-4FEC-B86A-56097C6A290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780</Words>
  <Application>Microsoft Office PowerPoint</Application>
  <PresentationFormat>On-screen Show (16:9)</PresentationFormat>
  <Paragraphs>353</Paragraphs>
  <Slides>32</Slides>
  <Notes>26</Notes>
  <HiddenSlides>0</HiddenSlides>
  <MMClips>2</MMClips>
  <ScaleCrop>false</ScaleCrop>
  <HeadingPairs>
    <vt:vector size="8" baseType="variant">
      <vt:variant>
        <vt:lpstr>Fonts Used</vt:lpstr>
      </vt:variant>
      <vt:variant>
        <vt:i4>16</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50" baseType="lpstr">
      <vt:lpstr>ＭＳ Ｐゴシック</vt:lpstr>
      <vt:lpstr>.AppleSystemUIFont</vt:lpstr>
      <vt:lpstr>Aptos</vt:lpstr>
      <vt:lpstr>Arial</vt:lpstr>
      <vt:lpstr>Arial Narrow</vt:lpstr>
      <vt:lpstr>Calibri</vt:lpstr>
      <vt:lpstr>Century Gothic</vt:lpstr>
      <vt:lpstr>Courier New</vt:lpstr>
      <vt:lpstr>Courier New,monospace</vt:lpstr>
      <vt:lpstr>Franklin Gothic Book</vt:lpstr>
      <vt:lpstr>Franklin Gothic Demi</vt:lpstr>
      <vt:lpstr>Franklin Gothic Medium</vt:lpstr>
      <vt:lpstr>Helvetica</vt:lpstr>
      <vt:lpstr>Open Sans</vt:lpstr>
      <vt:lpstr>Symbol</vt:lpstr>
      <vt:lpstr>Wingdings</vt:lpstr>
      <vt:lpstr>Office Theme</vt:lpstr>
      <vt:lpstr>think-cell Slide</vt:lpstr>
      <vt:lpstr>ISMPP University</vt:lpstr>
      <vt:lpstr>PowerPoint Presentation</vt:lpstr>
      <vt:lpstr>ISMPP Announcements</vt:lpstr>
      <vt:lpstr>ISMPP Announcements</vt:lpstr>
      <vt:lpstr>How To Ask Questions</vt:lpstr>
      <vt:lpstr>Disclaimer</vt:lpstr>
      <vt:lpstr>Learning Objectives </vt:lpstr>
      <vt:lpstr>Agenda</vt:lpstr>
      <vt:lpstr>Faculty</vt:lpstr>
      <vt:lpstr>Understanding Current Challenges</vt:lpstr>
      <vt:lpstr>Today’s Market</vt:lpstr>
      <vt:lpstr>Retention Issues</vt:lpstr>
      <vt:lpstr>Specific Challenges in Medical Publications Market</vt:lpstr>
      <vt:lpstr>Impact of Competitive Job Market</vt:lpstr>
      <vt:lpstr>Cultivating a Compelling Employer Brand</vt:lpstr>
      <vt:lpstr>Importance of Employer Branding</vt:lpstr>
      <vt:lpstr>Strategies to Enhance Employer Brand</vt:lpstr>
      <vt:lpstr>Case Studies and Examples</vt:lpstr>
      <vt:lpstr>Sunday Mindset</vt:lpstr>
      <vt:lpstr>Creating Pathways for Career Advancement</vt:lpstr>
      <vt:lpstr>Why do career pathways matter?</vt:lpstr>
      <vt:lpstr>Why do career pathways matter?</vt:lpstr>
      <vt:lpstr>What Can We Do?</vt:lpstr>
      <vt:lpstr>What Else Can We Do?</vt:lpstr>
      <vt:lpstr>What Resources Are Available?</vt:lpstr>
      <vt:lpstr>Panel Discussion</vt:lpstr>
      <vt:lpstr>Audience Q&amp;A</vt:lpstr>
      <vt:lpstr>Upcoming ISMPP U Webinars</vt:lpstr>
      <vt:lpstr>Thank you for attending!</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Kevin Lewis</cp:lastModifiedBy>
  <cp:revision>2</cp:revision>
  <dcterms:created xsi:type="dcterms:W3CDTF">2017-08-02T13:46:59Z</dcterms:created>
  <dcterms:modified xsi:type="dcterms:W3CDTF">2024-09-18T18:37: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394B8DAAE217E45AC0F6E97E6F6B542</vt:lpwstr>
  </property>
  <property fmtid="{D5CDD505-2E9C-101B-9397-08002B2CF9AE}" pid="3" name="MediaServiceImageTags">
    <vt:lpwstr/>
  </property>
</Properties>
</file>